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 ?><Relationships xmlns="http://schemas.openxmlformats.org/package/2006/relationships"><Relationship Id="rId1" Type="http://schemas.openxmlformats.org/officeDocument/2006/relationships/officeDocument" Target="ppt/presentation.xml"  /><Relationship Id="rId2" Type="http://schemas.openxmlformats.org/package/2006/relationships/metadata/thumbnail" Target="docProps/thumbnail.jpeg"  /><Relationship Id="rId3" Type="http://schemas.openxmlformats.org/package/2006/relationships/metadata/core-properties" Target="docProps/core.xml"  /><Relationship Id="rId4" Type="http://schemas.openxmlformats.org/officeDocument/2006/relationships/extended-properties" Target="docProps/app.xml"  /></Relationships>
</file>

<file path=ppt/presentation.xml><?xml version="1.0" encoding="utf-8"?>
<p:presentation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 removePersonalInfoOnSave="1" saveSubsetFonts="1">
  <p:sldMasterIdLst>
    <p:sldMasterId id="2147483660" r:id="rId1"/>
  </p:sldMasterIdLst>
  <p:notesMasterIdLst>
    <p:notesMasterId r:id="rId2"/>
  </p:notesMasterIdLst>
  <p:sldIdLst>
    <p:sldId id="256" r:id="rId3"/>
    <p:sldId id="257" r:id="rId4"/>
    <p:sldId id="258" r:id="rId5"/>
    <p:sldId id="259" r:id="rId6"/>
    <p:sldId id="260" r:id="rId7"/>
    <p:sldId id="261" r:id="rId8"/>
    <p:sldId id="262" r:id="rId9"/>
    <p:sldId id="263" r:id="rId10"/>
    <p:sldId id="264" r:id="rId11"/>
    <p:sldId id="265" r:id="rId12"/>
    <p:sldId id="266" r:id="rId13"/>
    <p:sldId id="267" r:id="rId14"/>
    <p:sldId id="268" r:id="rId15"/>
    <p:sldId id="269" r:id="rId16"/>
    <p:sldId id="270" r:id="rId17"/>
    <p:sldId id="271" r:id="rId18"/>
    <p:sldId id="272" r:id="rId19"/>
    <p:sldId id="273" r:id="rId20"/>
    <p:sldId id="274" r:id="rId21"/>
    <p:sldId id="275" r:id="rId22"/>
    <p:sldId id="276" r:id="rId2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showPr showNarration="1">
    <p:present/>
    <p:sldAll/>
    <p:penClr>
      <a:prstClr val="red"/>
    </p:penClr>
    <p:extLst>
      <p:ext uri="{2FDB2607-1784-4EEB-B798-7EB5836EED8A}">
        <p14:showMediaCtrls xmlns:p14="http://schemas.microsoft.com/office/powerpoint/2010/main" val="1"/>
      </p:ext>
    </p:extLst>
  </p:showPr>
  <p:extLst>
    <p:ext uri="ACF4677E-8BD2-47ae-8A1F-98590045965D">
      <hp:hncThemeShow xmlns:hp="http://schemas.haansoft.com/office/presentation/8.0" themeShowType="1" themeSkinType="1" themeTransitionType="1" useThemeTransition="1" byMouseClick="1" attrType="1" dur="2000"/>
    </p:ext>
  </p:extLst>
</p:presentationPr>
</file>

<file path=ppt/tableStyles.xml><?xml version="1.0" encoding="utf-8"?>
<a:tblStyleLst xmlns:r="http://schemas.openxmlformats.org/officeDocument/2006/relationships" xmlns:c="http://schemas.openxmlformats.org/drawingml/2006/chart" xmlns:dgm="http://schemas.openxmlformats.org/drawingml/2006/diagram" xmlns:dsp="http://schemas.microsoft.com/office/drawing/2008/diagram" xmlns:a="http://schemas.openxmlformats.org/drawingml/2006/main" xmlns:pic="http://schemas.openxmlformats.org/drawingml/2006/picture" xmlns:wp="http://schemas.openxmlformats.org/drawingml/2006/wordprocessingDrawing" xmlns:xdr="http://schemas.openxmlformats.org/drawingml/2006/spreadsheetDrawing" xmlns:p="http://schemas.openxmlformats.org/presentation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TxStyle/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TxStyle/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normalViewPr horzBarState="maximized">
    <p:restoredLeft sz="12622" autoAdjust="0"/>
    <p:restoredTop sz="100000"/>
  </p:normalViewPr>
  <p:slideViewPr>
    <p:cSldViewPr snapToGrid="0">
      <p:cViewPr varScale="1">
        <p:scale>
          <a:sx n="100" d="100"/>
          <a:sy n="100" d="100"/>
        </p:scale>
        <p:origin x="1686" y="720"/>
      </p:cViewPr>
      <p:guideLst>
        <p:guide orient="horz" pos="2156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napToGrid="0">
      <p:cViewPr varScale="1">
        <p:scale>
          <a:sx n="87" d="100"/>
          <a:sy n="87" d="100"/>
        </p:scale>
        <p:origin x="3840" y="84"/>
      </p:cViewPr>
    </p:cSldViewPr>
  </p:notesViewPr>
  <p:gridSpacing cx="72008" cy="72008"/>
</p:viewPr>
</file>

<file path=ppt/_rels/presentation.xml.rels><?xml version="1.0" encoding="UTF-8" standalone="yes" ?><Relationships xmlns="http://schemas.openxmlformats.org/package/2006/relationships"><Relationship Id="rId1" Type="http://schemas.openxmlformats.org/officeDocument/2006/relationships/slideMaster" Target="slideMasters/slideMaster1.xml"  /><Relationship Id="rId10" Type="http://schemas.openxmlformats.org/officeDocument/2006/relationships/slide" Target="slides/slide8.xml"  /><Relationship Id="rId11" Type="http://schemas.openxmlformats.org/officeDocument/2006/relationships/slide" Target="slides/slide9.xml"  /><Relationship Id="rId12" Type="http://schemas.openxmlformats.org/officeDocument/2006/relationships/slide" Target="slides/slide10.xml"  /><Relationship Id="rId13" Type="http://schemas.openxmlformats.org/officeDocument/2006/relationships/slide" Target="slides/slide11.xml"  /><Relationship Id="rId14" Type="http://schemas.openxmlformats.org/officeDocument/2006/relationships/slide" Target="slides/slide12.xml"  /><Relationship Id="rId15" Type="http://schemas.openxmlformats.org/officeDocument/2006/relationships/slide" Target="slides/slide13.xml"  /><Relationship Id="rId16" Type="http://schemas.openxmlformats.org/officeDocument/2006/relationships/slide" Target="slides/slide14.xml"  /><Relationship Id="rId17" Type="http://schemas.openxmlformats.org/officeDocument/2006/relationships/slide" Target="slides/slide15.xml"  /><Relationship Id="rId18" Type="http://schemas.openxmlformats.org/officeDocument/2006/relationships/slide" Target="slides/slide16.xml"  /><Relationship Id="rId19" Type="http://schemas.openxmlformats.org/officeDocument/2006/relationships/slide" Target="slides/slide17.xml"  /><Relationship Id="rId2" Type="http://schemas.openxmlformats.org/officeDocument/2006/relationships/notesMaster" Target="notesMasters/notesMaster1.xml"  /><Relationship Id="rId20" Type="http://schemas.openxmlformats.org/officeDocument/2006/relationships/slide" Target="slides/slide18.xml"  /><Relationship Id="rId21" Type="http://schemas.openxmlformats.org/officeDocument/2006/relationships/slide" Target="slides/slide19.xml"  /><Relationship Id="rId22" Type="http://schemas.openxmlformats.org/officeDocument/2006/relationships/slide" Target="slides/slide20.xml"  /><Relationship Id="rId23" Type="http://schemas.openxmlformats.org/officeDocument/2006/relationships/slide" Target="slides/slide21.xml"  /><Relationship Id="rId24" Type="http://schemas.openxmlformats.org/officeDocument/2006/relationships/presProps" Target="presProps.xml"  /><Relationship Id="rId25" Type="http://schemas.openxmlformats.org/officeDocument/2006/relationships/viewProps" Target="viewProps.xml"  /><Relationship Id="rId26" Type="http://schemas.openxmlformats.org/officeDocument/2006/relationships/theme" Target="theme/theme1.xml"  /><Relationship Id="rId27" Type="http://schemas.openxmlformats.org/officeDocument/2006/relationships/tableStyles" Target="tableStyles.xml"  /><Relationship Id="rId3" Type="http://schemas.openxmlformats.org/officeDocument/2006/relationships/slide" Target="slides/slide1.xml"  /><Relationship Id="rId4" Type="http://schemas.openxmlformats.org/officeDocument/2006/relationships/slide" Target="slides/slide2.xml"  /><Relationship Id="rId5" Type="http://schemas.openxmlformats.org/officeDocument/2006/relationships/slide" Target="slides/slide3.xml"  /><Relationship Id="rId6" Type="http://schemas.openxmlformats.org/officeDocument/2006/relationships/slide" Target="slides/slide4.xml"  /><Relationship Id="rId7" Type="http://schemas.openxmlformats.org/officeDocument/2006/relationships/slide" Target="slides/slide5.xml"  /><Relationship Id="rId8" Type="http://schemas.openxmlformats.org/officeDocument/2006/relationships/slide" Target="slides/slide6.xml"  /><Relationship Id="rId9" Type="http://schemas.openxmlformats.org/officeDocument/2006/relationships/slide" Target="slides/slide7.xml"  /></Relationships>
</file>

<file path=ppt/notesMasters/_rels/notesMaster1.xml.rels><?xml version="1.0" encoding="UTF-8" standalone="yes" ?><Relationships xmlns="http://schemas.openxmlformats.org/package/2006/relationships"><Relationship Id="rId1" Type="http://schemas.openxmlformats.org/officeDocument/2006/relationships/theme" Target="../theme/theme2.xml"  /></Relationships>
</file>

<file path=ppt/notesMasters/notesMaster1.xml><?xml version="1.0" encoding="utf-8"?>
<p:notesMaster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 idx="0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/>
          <a:lstStyle>
            <a:lvl1pPr algn="l">
              <a:defRPr sz="1200"/>
            </a:lvl1pPr>
          </a:lstStyle>
          <a:p>
            <a:pPr lvl="0">
              <a:defRPr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/>
          <a:lstStyle>
            <a:lvl1pPr algn="r">
              <a:defRPr sz="1200"/>
            </a:lvl1pPr>
          </a:lstStyle>
          <a:p>
            <a:pPr lvl="0">
              <a:defRPr/>
            </a:pPr>
            <a:fld id="{AE4FC4AD-B48C-437F-A569-56E887D74959}" type="datetime1">
              <a:rPr lang="en-US"/>
              <a:pPr lvl="0">
                <a:defRPr/>
              </a:pPr>
              <a:t>11/8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 noTextEdi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anchor="ctr"/>
          <a:lstStyle/>
          <a:p>
            <a:pPr lvl="0">
              <a:defRPr/>
            </a:pPr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/>
          <a:lstStyle/>
          <a:p>
            <a:pPr lvl="0">
              <a:defRPr/>
            </a:pPr>
            <a:r>
              <a:rPr lang="en-US"/>
              <a:t>Click to edit Master text styles</a:t>
            </a:r>
            <a:endParaRPr lang="en-US"/>
          </a:p>
          <a:p>
            <a:pPr lvl="1">
              <a:defRPr/>
            </a:pPr>
            <a:r>
              <a:rPr lang="en-US"/>
              <a:t>Second level</a:t>
            </a:r>
            <a:endParaRPr lang="en-US"/>
          </a:p>
          <a:p>
            <a:pPr lvl="2">
              <a:defRPr/>
            </a:pPr>
            <a:r>
              <a:rPr lang="en-US"/>
              <a:t>Third level</a:t>
            </a:r>
            <a:endParaRPr lang="en-US"/>
          </a:p>
          <a:p>
            <a:pPr lvl="3">
              <a:defRPr/>
            </a:pPr>
            <a:r>
              <a:rPr lang="en-US"/>
              <a:t>Fourth level</a:t>
            </a:r>
            <a:endParaRPr lang="en-US"/>
          </a:p>
          <a:p>
            <a:pPr lvl="4">
              <a:defRPr/>
            </a:pPr>
            <a:r>
              <a:rPr lang="en-US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anchor="b"/>
          <a:lstStyle>
            <a:lvl1pPr algn="l">
              <a:defRPr sz="1200"/>
            </a:lvl1pPr>
          </a:lstStyle>
          <a:p>
            <a:pPr lvl="0">
              <a:defRPr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anchor="b"/>
          <a:lstStyle>
            <a:lvl1pPr algn="r">
              <a:defRPr sz="1200"/>
            </a:lvl1pPr>
          </a:lstStyle>
          <a:p>
            <a:pPr lvl="0">
              <a:defRPr/>
            </a:pPr>
            <a:fld id="{375924C0-7D9B-4BED-82D7-91085603E2F2}" type="slidenum">
              <a:rPr lang="en-US"/>
              <a:pPr lvl="0"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 ?><Relationships xmlns="http://schemas.openxmlformats.org/package/2006/relationships"><Relationship Id="rId1" Type="http://schemas.openxmlformats.org/officeDocument/2006/relationships/slide" Target="../slides/slide1.xml"  /><Relationship Id="rId2" Type="http://schemas.openxmlformats.org/officeDocument/2006/relationships/notesMaster" Target="../notesMasters/notesMaster1.xml"  /></Relationships>
</file>

<file path=ppt/notesSlides/_rels/notesSlide2.xml.rels><?xml version="1.0" encoding="UTF-8" standalone="yes" ?><Relationships xmlns="http://schemas.openxmlformats.org/package/2006/relationships"><Relationship Id="rId1" Type="http://schemas.openxmlformats.org/officeDocument/2006/relationships/slide" Target="../slides/slide2.xml"  /><Relationship Id="rId2" Type="http://schemas.openxmlformats.org/officeDocument/2006/relationships/notesMaster" Target="../notesMasters/notesMaster1.xml"  /></Relationships>
</file>

<file path=ppt/notesSlides/_rels/notesSlide3.xml.rels><?xml version="1.0" encoding="UTF-8" standalone="yes" ?><Relationships xmlns="http://schemas.openxmlformats.org/package/2006/relationships"><Relationship Id="rId1" Type="http://schemas.openxmlformats.org/officeDocument/2006/relationships/slide" Target="../slides/slide21.xml"  /><Relationship Id="rId2" Type="http://schemas.openxmlformats.org/officeDocument/2006/relationships/notesMaster" Target="../notesMasters/notesMaster1.xml"  /></Relationships>
</file>

<file path=ppt/notesSlides/notesSlide1.xml><?xml version="1.0" encoding="utf-8"?>
<p:notes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 noTextEdit="1"/>
          </p:cNvSpPr>
          <p:nvPr>
            <p:ph type="sldImg" idx="0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/>
            </a:pPr>
            <a:fld id="{375924C0-7D9B-4BED-82D7-91085603E2F2}" type="slidenum">
              <a:rPr lang="en-US"/>
              <a:pPr lvl="0">
                <a:defRPr/>
              </a:pPr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 noTextEdit="1"/>
          </p:cNvSpPr>
          <p:nvPr>
            <p:ph type="sldImg" idx="0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/>
            </a:pPr>
            <a:fld id="{375924C0-7D9B-4BED-82D7-91085603E2F2}" type="slidenum">
              <a:rPr lang="en-US"/>
              <a:pPr lvl="0">
                <a:defRPr/>
              </a:pPr>
              <a:t>2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 noTextEdit="1"/>
          </p:cNvSpPr>
          <p:nvPr>
            <p:ph type="sldImg" idx="0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/>
            </a:pPr>
            <a:fld id="{375924C0-7D9B-4BED-82D7-91085603E2F2}" type="slidenum">
              <a:rPr lang="en-US"/>
              <a:pPr lvl="0">
                <a:defRPr/>
              </a:pPr>
              <a:t>21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10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11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2.xml.rels><?xml version="1.0" encoding="UTF-8" standalone="yes" ?><Relationships xmlns="http://schemas.openxmlformats.org/package/2006/relationships"><Relationship Id="rId1" Type="http://schemas.openxmlformats.org/officeDocument/2006/relationships/tags" Target="../tags/tag1.xml"  /><Relationship Id="rId2" Type="http://schemas.openxmlformats.org/officeDocument/2006/relationships/slideMaster" Target="../slideMasters/slideMaster1.xml"  /><Relationship Id="rId3" Type="http://schemas.openxmlformats.org/officeDocument/2006/relationships/oleObject" Target="../embeddings/oleObject1.bin"  /><Relationship Id="rId4" Type="http://schemas.openxmlformats.org/officeDocument/2006/relationships/image" Target="../media/image1.emf"  /></Relationships>
</file>

<file path=ppt/slideLayouts/_rels/slideLayout3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4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5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6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7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8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9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097069-A77C-47C4-BACA-C8419284C65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F386E8F-FAE4-4A0C-B8B9-89B1CD8011B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F319A1-3331-4645-935D-2ABDC2BF4B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11A1450-8642-4714-A8B4-3A29E67FECA2}" type="datetimeFigureOut">
              <a:rPr lang="en-US" smtClean="0"/>
              <a:t>6/2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1A29B5-A456-42A3-884C-52A41D4CE9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A79B12-927D-45EF-ADFB-FCAD7513AD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F96A63-128F-4CF8-9818-BF4B3BBAE6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486038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1B9AAC-F0F5-4BA9-8D50-868087FEA0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E557D2D-19E5-4AB9-859D-423D416EF33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47E905-D35C-48BF-A86D-52C553967E8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11A1450-8642-4714-A8B4-3A29E67FECA2}" type="datetimeFigureOut">
              <a:rPr lang="en-US" smtClean="0"/>
              <a:t>6/2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5BF9CF-D6EF-44CD-B09B-87689D0B78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EA1E9A-735D-4364-9163-42A4A9075A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F96A63-128F-4CF8-9818-BF4B3BBAE6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49138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3A85F03-D601-4C79-9A06-BD1649DDCBF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E2EA640-88C5-4166-83B2-9947DD26B7E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9F78AE-0D32-4E28-8F16-B3E6C19B8EC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11A1450-8642-4714-A8B4-3A29E67FECA2}" type="datetimeFigureOut">
              <a:rPr lang="en-US" smtClean="0"/>
              <a:t>6/2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1A0C41-AD0F-4542-92D8-22B038D58D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647696-886F-4EC9-909E-B487DA8EC6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F96A63-128F-4CF8-9818-BF4B3BBAE6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13636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B53AC5B-0993-4EDD-8D2C-919BDF7501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4304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882FD12-58CD-4C60-ABF8-4AC860D157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9125" y="365126"/>
            <a:ext cx="10953750" cy="745218"/>
          </a:xfrm>
        </p:spPr>
        <p:txBody>
          <a:bodyPr vert="horz">
            <a:normAutofit/>
          </a:bodyPr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95EA13-F8BB-43A8-9060-10D320013F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9125" y="1319350"/>
            <a:ext cx="10953750" cy="48576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97A32F9-13F8-4AA0-A9F7-28983C5B1B4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11A1450-8642-4714-A8B4-3A29E67FECA2}" type="datetimeFigureOut">
              <a:rPr lang="en-US" smtClean="0"/>
              <a:t>6/2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CFEA67-938E-4136-8F39-03DC64B263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8A529FF-66E8-4788-8907-7A7381446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F96A63-128F-4CF8-9818-BF4B3BBAE6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10436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8C0C30-AD3E-4823-BDFA-72F6A62E30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93E0EB0-02B6-4F44-9CAA-1F6D660BB1C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BE150D-3297-44A1-B28A-D1815E317FC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11A1450-8642-4714-A8B4-3A29E67FECA2}" type="datetimeFigureOut">
              <a:rPr lang="en-US" smtClean="0"/>
              <a:t>6/2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6D6EF0-416D-4605-BADC-0F6B07AABB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9F2B9FE-D3BC-4A9F-9D7A-E2B76010A1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F96A63-128F-4CF8-9818-BF4B3BBAE6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60216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2B2D7E-1E2F-419C-A84C-7B948E7B86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D9B7F2-830C-484A-A661-6CE0F9D2A9A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0F6C91C-9DD3-4C21-ACFD-0EC598357F1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EFA4A20-AEB8-47C8-BA7D-1F717CA592D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11A1450-8642-4714-A8B4-3A29E67FECA2}" type="datetimeFigureOut">
              <a:rPr lang="en-US" smtClean="0"/>
              <a:t>6/2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3F99154-F320-4E21-BE36-B86CE035D9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CD25025-D868-4F9D-BF6E-ACBEA9C894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F96A63-128F-4CF8-9818-BF4B3BBAE6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24548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195E6B-6E30-4C9C-B704-48E4A66D98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F05BC5-AA88-43B4-9F38-F148EA3CC9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012C557-F086-4C91-85EE-FA885637DE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2CA02EB-BD41-4239-912E-45B4B6F0B6C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BACA4CE-9333-46B9-B3A1-A1AC8109B39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771F3A5-798D-4F1E-A6CE-A4D5D4B329B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11A1450-8642-4714-A8B4-3A29E67FECA2}" type="datetimeFigureOut">
              <a:rPr lang="en-US" smtClean="0"/>
              <a:t>6/23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36A7F9-22AB-4AC3-BC76-B79BB8E2CD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BFFD61F-C4CB-4AE3-AA66-EAA614DFF7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F96A63-128F-4CF8-9818-BF4B3BBAE6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3138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F98944-8048-4434-82D6-2A83973371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18C100B-D92E-4846-AB87-EF4AADE2F95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11A1450-8642-4714-A8B4-3A29E67FECA2}" type="datetimeFigureOut">
              <a:rPr lang="en-US" smtClean="0"/>
              <a:t>6/23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B3515F-A288-42F8-91E7-A113CBDE7F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09465A-AE16-485E-93A1-62FB0FD346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F96A63-128F-4CF8-9818-BF4B3BBAE6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63522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6D2C09-7C60-4629-A2ED-4373EAA5853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11A1450-8642-4714-A8B4-3A29E67FECA2}" type="datetimeFigureOut">
              <a:rPr lang="en-US" smtClean="0"/>
              <a:t>6/23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7EB3320-9B16-4477-B737-1CA231971F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E65BA0-F70C-49E4-82A6-DCE5608EDB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F96A63-128F-4CF8-9818-BF4B3BBAE6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566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4FDE71-A91F-4E39-A1E6-6BF8187DEA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D7EB83-FEB2-428F-8B2A-18D73D98A3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BE74304-C386-42B5-9643-12559E206E6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5167CD0-C2F2-4E7F-9B09-40618EEE8E3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11A1450-8642-4714-A8B4-3A29E67FECA2}" type="datetimeFigureOut">
              <a:rPr lang="en-US" smtClean="0"/>
              <a:t>6/2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5743333-176D-4446-BA90-8197BF9DD1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1C6A395-B408-4512-9606-75FBB890FB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F96A63-128F-4CF8-9818-BF4B3BBAE6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46140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B56F57-D35D-4DB5-A9DD-7E722FEA4A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0A5C9C3-35E4-44D1-9D7C-BDC75E227E6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AB58D9A-3D5A-45AD-97BD-03BF4B14A4A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3DF671D-E680-42CC-8F58-70A53405A8B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11A1450-8642-4714-A8B4-3A29E67FECA2}" type="datetimeFigureOut">
              <a:rPr lang="en-US" smtClean="0"/>
              <a:t>6/2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6619552-9484-46B7-AA5D-130BED8B9D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2FF038E-8787-4386-89CC-B55D36B6A5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F96A63-128F-4CF8-9818-BF4B3BBAE6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1960951"/>
      </p:ext>
    </p:extLst>
  </p:cSld>
  <p:clrMapOvr>
    <a:masterClrMapping/>
  </p:clrMapOvr>
</p:sldLayout>
</file>

<file path=ppt/slideMasters/_rels/slideMaster1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1.xml"  /><Relationship Id="rId10" Type="http://schemas.openxmlformats.org/officeDocument/2006/relationships/slideLayout" Target="../slideLayouts/slideLayout10.xml"  /><Relationship Id="rId11" Type="http://schemas.openxmlformats.org/officeDocument/2006/relationships/slideLayout" Target="../slideLayouts/slideLayout11.xml"  /><Relationship Id="rId12" Type="http://schemas.openxmlformats.org/officeDocument/2006/relationships/theme" Target="../theme/theme1.xml"  /><Relationship Id="rId13" Type="http://schemas.openxmlformats.org/officeDocument/2006/relationships/tags" Target="../tags/tag2.xml"  /><Relationship Id="rId14" Type="http://schemas.openxmlformats.org/officeDocument/2006/relationships/oleObject" Target="../embeddings/oleObject2.bin"  /><Relationship Id="rId15" Type="http://schemas.openxmlformats.org/officeDocument/2006/relationships/image" Target="../media/image1.emf"  /><Relationship Id="rId2" Type="http://schemas.openxmlformats.org/officeDocument/2006/relationships/slideLayout" Target="../slideLayouts/slideLayout2.xml"  /><Relationship Id="rId3" Type="http://schemas.openxmlformats.org/officeDocument/2006/relationships/slideLayout" Target="../slideLayouts/slideLayout3.xml"  /><Relationship Id="rId4" Type="http://schemas.openxmlformats.org/officeDocument/2006/relationships/slideLayout" Target="../slideLayouts/slideLayout4.xml"  /><Relationship Id="rId5" Type="http://schemas.openxmlformats.org/officeDocument/2006/relationships/slideLayout" Target="../slideLayouts/slideLayout5.xml"  /><Relationship Id="rId6" Type="http://schemas.openxmlformats.org/officeDocument/2006/relationships/slideLayout" Target="../slideLayouts/slideLayout6.xml"  /><Relationship Id="rId7" Type="http://schemas.openxmlformats.org/officeDocument/2006/relationships/slideLayout" Target="../slideLayouts/slideLayout7.xml"  /><Relationship Id="rId8" Type="http://schemas.openxmlformats.org/officeDocument/2006/relationships/slideLayout" Target="../slideLayouts/slideLayout8.xml"  /><Relationship Id="rId9" Type="http://schemas.openxmlformats.org/officeDocument/2006/relationships/slideLayout" Target="../slideLayouts/slideLayout9.xml"  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5032715-CBB5-4A88-A76B-B26128EEF3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387229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83" imgH="384" progId="TCLayout.ActiveDocument.1">
                  <p:embed/>
                </p:oleObj>
              </mc:Choice>
              <mc:Fallback>
                <p:oleObj name="think-cell Slide" r:id="rId1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448C116-BC11-4305-86B8-1C3F440190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9125" y="365125"/>
            <a:ext cx="10953750" cy="949325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6C1AD31-9BFE-48E4-AE73-6EEBC5E3AE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9125" y="1600200"/>
            <a:ext cx="10953750" cy="4576763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B0F867-EA5F-4199-BF9E-6776B32D8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70919" y="6356350"/>
            <a:ext cx="4019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F96A63-128F-4CF8-9818-BF4B3BBAE61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39447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 ?><Relationships xmlns="http://schemas.openxmlformats.org/package/2006/relationships"><Relationship Id="rId1" Type="http://schemas.openxmlformats.org/officeDocument/2006/relationships/notesSlide" Target="../notesSlides/notesSlide1.xml"  /><Relationship Id="rId2" Type="http://schemas.openxmlformats.org/officeDocument/2006/relationships/slideLayout" Target="../slideLayouts/slideLayout1.xml"  /><Relationship Id="rId3" Type="http://schemas.openxmlformats.org/officeDocument/2006/relationships/image" Target="../media/image2.gif"  /></Relationships>
</file>

<file path=ppt/slides/_rels/slide10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2.xml"  /><Relationship Id="rId2" Type="http://schemas.openxmlformats.org/officeDocument/2006/relationships/image" Target="../media/image5.jpeg"  /><Relationship Id="rId3" Type="http://schemas.openxmlformats.org/officeDocument/2006/relationships/image" Target="../media/image11.png"  /></Relationships>
</file>

<file path=ppt/slides/_rels/slide11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2.xml"  /><Relationship Id="rId2" Type="http://schemas.openxmlformats.org/officeDocument/2006/relationships/image" Target="../media/image5.jpeg"  /><Relationship Id="rId3" Type="http://schemas.openxmlformats.org/officeDocument/2006/relationships/image" Target="../media/image12.png"  /></Relationships>
</file>

<file path=ppt/slides/_rels/slide12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2.xml"  /><Relationship Id="rId2" Type="http://schemas.openxmlformats.org/officeDocument/2006/relationships/image" Target="../media/image5.jpeg"  /><Relationship Id="rId3" Type="http://schemas.openxmlformats.org/officeDocument/2006/relationships/image" Target="../media/image13.png"  /></Relationships>
</file>

<file path=ppt/slides/_rels/slide13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2.xml"  /><Relationship Id="rId2" Type="http://schemas.openxmlformats.org/officeDocument/2006/relationships/image" Target="../media/image5.jpeg"  /><Relationship Id="rId3" Type="http://schemas.openxmlformats.org/officeDocument/2006/relationships/image" Target="../media/image14.png"  /></Relationships>
</file>

<file path=ppt/slides/_rels/slide14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2.xml"  /><Relationship Id="rId2" Type="http://schemas.openxmlformats.org/officeDocument/2006/relationships/image" Target="../media/image15.png"  /></Relationships>
</file>

<file path=ppt/slides/_rels/slide15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2.xml"  /></Relationships>
</file>

<file path=ppt/slides/_rels/slide16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2.xml"  /><Relationship Id="rId2" Type="http://schemas.openxmlformats.org/officeDocument/2006/relationships/image" Target="../media/image16.jpeg"  /><Relationship Id="rId3" Type="http://schemas.openxmlformats.org/officeDocument/2006/relationships/image" Target="../media/image17.png"  /><Relationship Id="rId4" Type="http://schemas.openxmlformats.org/officeDocument/2006/relationships/image" Target="../media/image18.png"  /></Relationships>
</file>

<file path=ppt/slides/_rels/slide17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2.xml"  /><Relationship Id="rId2" Type="http://schemas.openxmlformats.org/officeDocument/2006/relationships/image" Target="../media/image19.jpeg"  /><Relationship Id="rId3" Type="http://schemas.openxmlformats.org/officeDocument/2006/relationships/image" Target="../media/image20.png"  /></Relationships>
</file>

<file path=ppt/slides/_rels/slide18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2.xml"  /><Relationship Id="rId2" Type="http://schemas.openxmlformats.org/officeDocument/2006/relationships/image" Target="../media/image5.jpeg"  /><Relationship Id="rId3" Type="http://schemas.openxmlformats.org/officeDocument/2006/relationships/image" Target="../media/image21.png"  /></Relationships>
</file>

<file path=ppt/slides/_rels/slide19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2.xml"  /><Relationship Id="rId2" Type="http://schemas.openxmlformats.org/officeDocument/2006/relationships/image" Target="../media/image19.jpeg"  /></Relationships>
</file>

<file path=ppt/slides/_rels/slide2.xml.rels><?xml version="1.0" encoding="UTF-8" standalone="yes" ?><Relationships xmlns="http://schemas.openxmlformats.org/package/2006/relationships"><Relationship Id="rId1" Type="http://schemas.openxmlformats.org/officeDocument/2006/relationships/notesSlide" Target="../notesSlides/notesSlide2.xml"  /><Relationship Id="rId2" Type="http://schemas.openxmlformats.org/officeDocument/2006/relationships/slideLayout" Target="../slideLayouts/slideLayout2.xml"  /><Relationship Id="rId3" Type="http://schemas.openxmlformats.org/officeDocument/2006/relationships/image" Target="../media/image3.jpeg"  /></Relationships>
</file>

<file path=ppt/slides/_rels/slide20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2.xml"  /></Relationships>
</file>

<file path=ppt/slides/_rels/slide21.xml.rels><?xml version="1.0" encoding="UTF-8" standalone="yes" ?><Relationships xmlns="http://schemas.openxmlformats.org/package/2006/relationships"><Relationship Id="rId1" Type="http://schemas.openxmlformats.org/officeDocument/2006/relationships/notesSlide" Target="../notesSlides/notesSlide3.xml"  /><Relationship Id="rId2" Type="http://schemas.openxmlformats.org/officeDocument/2006/relationships/slideLayout" Target="../slideLayouts/slideLayout1.xml"  /><Relationship Id="rId3" Type="http://schemas.openxmlformats.org/officeDocument/2006/relationships/image" Target="../media/image22.png"  /><Relationship Id="rId4" Type="http://schemas.openxmlformats.org/officeDocument/2006/relationships/image" Target="../media/image23.png"  /></Relationships>
</file>

<file path=ppt/slides/_rels/slide3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2.xml"  /><Relationship Id="rId2" Type="http://schemas.openxmlformats.org/officeDocument/2006/relationships/image" Target="../media/image4.png"  /></Relationships>
</file>

<file path=ppt/slides/_rels/slide4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2.xml"  /></Relationships>
</file>

<file path=ppt/slides/_rels/slide5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2.xml"  /><Relationship Id="rId2" Type="http://schemas.openxmlformats.org/officeDocument/2006/relationships/image" Target="../media/image5.jpeg"  /><Relationship Id="rId3" Type="http://schemas.openxmlformats.org/officeDocument/2006/relationships/image" Target="../media/image6.png"  /><Relationship Id="rId4" Type="http://schemas.openxmlformats.org/officeDocument/2006/relationships/image" Target="../media/image7.png"  /></Relationships>
</file>

<file path=ppt/slides/_rels/slide6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2.xml"  /></Relationships>
</file>

<file path=ppt/slides/_rels/slide7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2.xml"  /></Relationships>
</file>

<file path=ppt/slides/_rels/slide8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2.xml"  /><Relationship Id="rId2" Type="http://schemas.openxmlformats.org/officeDocument/2006/relationships/image" Target="../media/image8.png"  /><Relationship Id="rId3" Type="http://schemas.openxmlformats.org/officeDocument/2006/relationships/image" Target="../media/image9.png"  /></Relationships>
</file>

<file path=ppt/slides/_rels/slide9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2.xml"  /><Relationship Id="rId2" Type="http://schemas.openxmlformats.org/officeDocument/2006/relationships/image" Target="../media/image5.jpeg"  /><Relationship Id="rId3" Type="http://schemas.openxmlformats.org/officeDocument/2006/relationships/image" Target="../media/image10.png"  /></Relationships>
</file>

<file path=ppt/slides/slide1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6095999" y="0"/>
            <a:ext cx="6096000" cy="6858000"/>
          </a:xfrm>
          <a:prstGeom prst="rect">
            <a:avLst/>
          </a:prstGeom>
          <a:solidFill>
            <a:srgbClr val="015a6b">
              <a:alpha val="8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idx="0"/>
          </p:nvPr>
        </p:nvSpPr>
        <p:spPr>
          <a:xfrm>
            <a:off x="727975" y="4606040"/>
            <a:ext cx="2324020" cy="1641401"/>
          </a:xfrm>
        </p:spPr>
        <p:txBody>
          <a:bodyPr vert="horz">
            <a:noAutofit/>
          </a:bodyPr>
          <a:lstStyle/>
          <a:p>
            <a:pPr algn="l">
              <a:defRPr/>
            </a:pPr>
            <a:r>
              <a:rPr lang="ko-KR" altLang="en-US" sz="2400">
                <a:solidFill>
                  <a:srgbClr val="145252"/>
                </a:solidFill>
              </a:rPr>
              <a:t>제작보고서 발표</a:t>
            </a:r>
            <a:br>
              <a:rPr lang="en-US" altLang="ko-KR" sz="6600"/>
            </a:br>
            <a:endParaRPr lang="en-US" altLang="ko-KR" sz="6600"/>
          </a:p>
        </p:txBody>
      </p:sp>
      <p:cxnSp>
        <p:nvCxnSpPr>
          <p:cNvPr id="29" name="Straight Connector 28"/>
          <p:cNvCxnSpPr/>
          <p:nvPr/>
        </p:nvCxnSpPr>
        <p:spPr>
          <a:xfrm>
            <a:off x="723900" y="4576367"/>
            <a:ext cx="42037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/>
          <p:cNvSpPr/>
          <p:nvPr/>
        </p:nvSpPr>
        <p:spPr>
          <a:xfrm>
            <a:off x="723900" y="4530943"/>
            <a:ext cx="623888" cy="90847"/>
          </a:xfrm>
          <a:prstGeom prst="rect">
            <a:avLst/>
          </a:prstGeom>
          <a:solidFill>
            <a:srgbClr val="015a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3" name="Rectangle 32"/>
          <p:cNvSpPr/>
          <p:nvPr/>
        </p:nvSpPr>
        <p:spPr>
          <a:xfrm>
            <a:off x="1" y="1"/>
            <a:ext cx="635000" cy="635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6" name="Rectangle 35"/>
          <p:cNvSpPr/>
          <p:nvPr/>
        </p:nvSpPr>
        <p:spPr>
          <a:xfrm>
            <a:off x="314325" y="317500"/>
            <a:ext cx="320676" cy="3206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37" name=""/>
          <p:cNvPicPr/>
          <p:nvPr/>
        </p:nvPicPr>
        <p:blipFill rotWithShape="1">
          <a:blip r:embed="rId3"/>
          <a:stretch>
            <a:fillRect/>
          </a:stretch>
        </p:blipFill>
        <p:spPr>
          <a:xfrm>
            <a:off x="7455942" y="1628775"/>
            <a:ext cx="3600450" cy="3600450"/>
          </a:xfrm>
          <a:prstGeom prst="rect">
            <a:avLst/>
          </a:prstGeom>
        </p:spPr>
      </p:pic>
      <p:sp>
        <p:nvSpPr>
          <p:cNvPr id="38" name="Title 1"/>
          <p:cNvSpPr>
            <a:spLocks noGrp="1"/>
          </p:cNvSpPr>
          <p:nvPr/>
        </p:nvSpPr>
        <p:spPr>
          <a:xfrm>
            <a:off x="728296" y="1604785"/>
            <a:ext cx="4429125" cy="2697956"/>
          </a:xfrm>
          <a:prstGeom prst="rect">
            <a:avLst/>
          </a:prstGeom>
        </p:spPr>
        <p:txBody>
          <a:bodyPr vert="horz" lIns="0" tIns="45720" rIns="0" bIns="45720" anchor="b">
            <a:noAutofit/>
          </a:bodyPr>
          <a:p>
            <a: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7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명</a:t>
            </a:r>
            <a:r>
              <a:rPr xmlns:mc="http://schemas.openxmlformats.org/markup-compatibility/2006" xmlns:hp="http://schemas.haansoft.com/office/presentation/8.0" kumimoji="0" lang="en-US" altLang="ko-KR" sz="70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  <a:t>Zip</a:t>
            </a:r>
            <a:br>
              <a:rPr xmlns:mc="http://schemas.openxmlformats.org/markup-compatibility/2006" xmlns:hp="http://schemas.haansoft.com/office/presentation/8.0" kumimoji="0" lang="en-US" altLang="ko-KR" sz="6600" b="1" i="0" u="none" strike="noStrike" kern="1200" cap="none" spc="0" normalizeH="0" baseline="0" mc:Ignorable="hp" hp:hslEmbossed="0">
                <a:solidFill>
                  <a:schemeClr val="tx1"/>
                </a:solidFill>
                <a:latin typeface="Segoe UI"/>
                <a:ea typeface="+mj-ea"/>
                <a:cs typeface="Segoe UI"/>
              </a:rPr>
            </a:br>
            <a:endParaRPr xmlns:mc="http://schemas.openxmlformats.org/markup-compatibility/2006" xmlns:hp="http://schemas.haansoft.com/office/presentation/8.0" kumimoji="0" lang="en-US" altLang="ko-KR" sz="6600" b="1" i="0" u="none" strike="noStrike" kern="1200" cap="none" spc="0" normalizeH="0" baseline="0" mc:Ignorable="hp" hp:hslEmbossed="0">
              <a:solidFill>
                <a:schemeClr val="tx1"/>
              </a:solidFill>
              <a:latin typeface="Segoe UI"/>
              <a:ea typeface="+mj-ea"/>
              <a:cs typeface="Segoe UI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</p:sld>
</file>

<file path=ppt/slides/slide10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9" descr="Diagram  Description automatically generated with medium confidence"/>
          <p:cNvPicPr>
            <a:picLocks noChangeAspect="1"/>
          </p:cNvPicPr>
          <p:nvPr/>
        </p:nvPicPr>
        <p:blipFill rotWithShape="1">
          <a:blip r:embed="rId2"/>
          <a:srcRect t="43630" b="23080"/>
          <a:stretch>
            <a:fillRect/>
          </a:stretch>
        </p:blipFill>
        <p:spPr>
          <a:xfrm>
            <a:off x="1" y="0"/>
            <a:ext cx="12191999" cy="2706206"/>
          </a:xfrm>
          <a:prstGeom prst="rect">
            <a:avLst/>
          </a:prstGeom>
        </p:spPr>
      </p:pic>
      <p:sp>
        <p:nvSpPr>
          <p:cNvPr id="6" name="Rectangle 18"/>
          <p:cNvSpPr/>
          <p:nvPr/>
        </p:nvSpPr>
        <p:spPr>
          <a:xfrm>
            <a:off x="0" y="0"/>
            <a:ext cx="12191999" cy="2706206"/>
          </a:xfrm>
          <a:prstGeom prst="rect">
            <a:avLst/>
          </a:prstGeom>
          <a:solidFill>
            <a:srgbClr val="016c81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4" name="Title 1"/>
          <p:cNvSpPr>
            <a:spLocks noGrp="1"/>
          </p:cNvSpPr>
          <p:nvPr>
            <p:ph type="title" idx="0"/>
          </p:nvPr>
        </p:nvSpPr>
        <p:spPr>
          <a:xfrm>
            <a:off x="619125" y="365126"/>
            <a:ext cx="10953750" cy="745218"/>
          </a:xfrm>
        </p:spPr>
        <p:txBody>
          <a:bodyPr vert="horz" lIns="0" tIns="45720" rIns="0" bIns="45720" anchor="ctr">
            <a:normAutofit/>
          </a:bodyPr>
          <a:lstStyle/>
          <a:p>
            <a:pPr lvl="0">
              <a:defRPr/>
            </a:pPr>
            <a:r>
              <a:rPr lang="ko-KR" altLang="en-US" sz="2777"/>
              <a:t>제작 내용</a:t>
            </a:r>
            <a:br>
              <a:rPr lang="ko-KR" altLang="en-US" sz="2777"/>
            </a:br>
            <a:r>
              <a:rPr lang="en-US" altLang="ko-KR" sz="1500"/>
              <a:t>-</a:t>
            </a:r>
            <a:r>
              <a:rPr lang="ko-KR" altLang="en-US" sz="1500"/>
              <a:t> 방법 및 결과</a:t>
            </a:r>
            <a:endParaRPr lang="ko-KR" altLang="en-US" sz="1500"/>
          </a:p>
        </p:txBody>
      </p:sp>
      <p:pic>
        <p:nvPicPr>
          <p:cNvPr id="5" name=""/>
          <p:cNvPicPr/>
          <p:nvPr/>
        </p:nvPicPr>
        <p:blipFill rotWithShape="1">
          <a:blip r:embed="rId3">
            <a:lum/>
          </a:blip>
          <a:srcRect/>
          <a:stretch>
            <a:fillRect/>
          </a:stretch>
        </p:blipFill>
        <p:spPr>
          <a:xfrm>
            <a:off x="2816903" y="1173863"/>
            <a:ext cx="6558193" cy="451027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</p:sld>
</file>

<file path=ppt/slides/slide11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9" descr="Diagram  Description automatically generated with medium confidence"/>
          <p:cNvPicPr>
            <a:picLocks noChangeAspect="1"/>
          </p:cNvPicPr>
          <p:nvPr/>
        </p:nvPicPr>
        <p:blipFill rotWithShape="1">
          <a:blip r:embed="rId2"/>
          <a:srcRect t="43630" b="23080"/>
          <a:stretch>
            <a:fillRect/>
          </a:stretch>
        </p:blipFill>
        <p:spPr>
          <a:xfrm>
            <a:off x="0" y="0"/>
            <a:ext cx="12191999" cy="2706206"/>
          </a:xfrm>
          <a:prstGeom prst="rect">
            <a:avLst/>
          </a:prstGeom>
        </p:spPr>
      </p:pic>
      <p:sp>
        <p:nvSpPr>
          <p:cNvPr id="6" name="Rectangle 18"/>
          <p:cNvSpPr/>
          <p:nvPr/>
        </p:nvSpPr>
        <p:spPr>
          <a:xfrm>
            <a:off x="1" y="0"/>
            <a:ext cx="12191999" cy="2706206"/>
          </a:xfrm>
          <a:prstGeom prst="rect">
            <a:avLst/>
          </a:prstGeom>
          <a:solidFill>
            <a:srgbClr val="016c81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4" name="Title 1"/>
          <p:cNvSpPr>
            <a:spLocks noGrp="1"/>
          </p:cNvSpPr>
          <p:nvPr>
            <p:ph type="title" idx="0"/>
          </p:nvPr>
        </p:nvSpPr>
        <p:spPr>
          <a:xfrm>
            <a:off x="619125" y="365126"/>
            <a:ext cx="10953750" cy="745218"/>
          </a:xfrm>
        </p:spPr>
        <p:txBody>
          <a:bodyPr vert="horz" lIns="0" tIns="45720" rIns="0" bIns="45720" anchor="ctr">
            <a:normAutofit/>
          </a:bodyPr>
          <a:lstStyle/>
          <a:p>
            <a:pPr lvl="0">
              <a:defRPr/>
            </a:pPr>
            <a:r>
              <a:rPr lang="ko-KR" altLang="en-US" sz="2777"/>
              <a:t>제작 내용</a:t>
            </a:r>
            <a:br>
              <a:rPr lang="ko-KR" altLang="en-US" sz="2777"/>
            </a:br>
            <a:r>
              <a:rPr lang="en-US" altLang="ko-KR" sz="1500"/>
              <a:t>-</a:t>
            </a:r>
            <a:r>
              <a:rPr lang="ko-KR" altLang="en-US" sz="1500"/>
              <a:t> 방법 및 결과</a:t>
            </a:r>
            <a:endParaRPr lang="ko-KR" altLang="en-US" sz="1500"/>
          </a:p>
        </p:txBody>
      </p:sp>
      <p:pic>
        <p:nvPicPr>
          <p:cNvPr id="5" name=""/>
          <p:cNvPicPr/>
          <p:nvPr/>
        </p:nvPicPr>
        <p:blipFill rotWithShape="1">
          <a:blip r:embed="rId3">
            <a:lum/>
          </a:blip>
          <a:srcRect/>
          <a:stretch>
            <a:fillRect/>
          </a:stretch>
        </p:blipFill>
        <p:spPr>
          <a:xfrm>
            <a:off x="3514551" y="892969"/>
            <a:ext cx="5162897" cy="5072062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</p:sld>
</file>

<file path=ppt/slides/slide12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9" descr="Diagram  Description automatically generated with medium confidence"/>
          <p:cNvPicPr>
            <a:picLocks noChangeAspect="1"/>
          </p:cNvPicPr>
          <p:nvPr/>
        </p:nvPicPr>
        <p:blipFill rotWithShape="1">
          <a:blip r:embed="rId2"/>
          <a:srcRect t="43630" b="23080"/>
          <a:stretch>
            <a:fillRect/>
          </a:stretch>
        </p:blipFill>
        <p:spPr>
          <a:xfrm>
            <a:off x="0" y="0"/>
            <a:ext cx="12191999" cy="2706206"/>
          </a:xfrm>
          <a:prstGeom prst="rect">
            <a:avLst/>
          </a:prstGeom>
        </p:spPr>
      </p:pic>
      <p:sp>
        <p:nvSpPr>
          <p:cNvPr id="6" name="Rectangle 18"/>
          <p:cNvSpPr/>
          <p:nvPr/>
        </p:nvSpPr>
        <p:spPr>
          <a:xfrm>
            <a:off x="0" y="0"/>
            <a:ext cx="12191999" cy="2706206"/>
          </a:xfrm>
          <a:prstGeom prst="rect">
            <a:avLst/>
          </a:prstGeom>
          <a:solidFill>
            <a:srgbClr val="016c81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4" name="Title 1"/>
          <p:cNvSpPr>
            <a:spLocks noGrp="1"/>
          </p:cNvSpPr>
          <p:nvPr>
            <p:ph type="title" idx="0"/>
          </p:nvPr>
        </p:nvSpPr>
        <p:spPr>
          <a:xfrm>
            <a:off x="619125" y="365126"/>
            <a:ext cx="10953750" cy="745218"/>
          </a:xfrm>
        </p:spPr>
        <p:txBody>
          <a:bodyPr vert="horz" lIns="0" tIns="45720" rIns="0" bIns="45720" anchor="ctr">
            <a:normAutofit/>
          </a:bodyPr>
          <a:lstStyle/>
          <a:p>
            <a:pPr lvl="0">
              <a:defRPr/>
            </a:pPr>
            <a:r>
              <a:rPr lang="ko-KR" altLang="en-US" sz="2777"/>
              <a:t>제작 내용</a:t>
            </a:r>
            <a:br>
              <a:rPr lang="ko-KR" altLang="en-US" sz="2777"/>
            </a:br>
            <a:r>
              <a:rPr lang="en-US" altLang="ko-KR" sz="1500"/>
              <a:t>-</a:t>
            </a:r>
            <a:r>
              <a:rPr lang="ko-KR" altLang="en-US" sz="1500"/>
              <a:t> 방법 및 결과</a:t>
            </a:r>
            <a:endParaRPr lang="ko-KR" altLang="en-US" sz="1500"/>
          </a:p>
        </p:txBody>
      </p:sp>
      <p:pic>
        <p:nvPicPr>
          <p:cNvPr id="5" name=""/>
          <p:cNvPicPr/>
          <p:nvPr/>
        </p:nvPicPr>
        <p:blipFill rotWithShape="1">
          <a:blip r:embed="rId3">
            <a:lum/>
          </a:blip>
          <a:srcRect/>
          <a:stretch>
            <a:fillRect/>
          </a:stretch>
        </p:blipFill>
        <p:spPr>
          <a:xfrm>
            <a:off x="3048000" y="1283990"/>
            <a:ext cx="6096000" cy="429001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</p:sld>
</file>

<file path=ppt/slides/slide13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9" descr="Diagram  Description automatically generated with medium confidence"/>
          <p:cNvPicPr>
            <a:picLocks noChangeAspect="1"/>
          </p:cNvPicPr>
          <p:nvPr/>
        </p:nvPicPr>
        <p:blipFill rotWithShape="1">
          <a:blip r:embed="rId2"/>
          <a:srcRect t="43630" b="23080"/>
          <a:stretch>
            <a:fillRect/>
          </a:stretch>
        </p:blipFill>
        <p:spPr>
          <a:xfrm>
            <a:off x="0" y="0"/>
            <a:ext cx="12191999" cy="2706206"/>
          </a:xfrm>
          <a:prstGeom prst="rect">
            <a:avLst/>
          </a:prstGeom>
        </p:spPr>
      </p:pic>
      <p:sp>
        <p:nvSpPr>
          <p:cNvPr id="6" name="Rectangle 18"/>
          <p:cNvSpPr/>
          <p:nvPr/>
        </p:nvSpPr>
        <p:spPr>
          <a:xfrm>
            <a:off x="0" y="0"/>
            <a:ext cx="12191999" cy="2706206"/>
          </a:xfrm>
          <a:prstGeom prst="rect">
            <a:avLst/>
          </a:prstGeom>
          <a:solidFill>
            <a:srgbClr val="016c81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4" name="Title 1"/>
          <p:cNvSpPr>
            <a:spLocks noGrp="1"/>
          </p:cNvSpPr>
          <p:nvPr>
            <p:ph type="title" idx="0"/>
          </p:nvPr>
        </p:nvSpPr>
        <p:spPr>
          <a:xfrm>
            <a:off x="619125" y="365126"/>
            <a:ext cx="10953750" cy="745218"/>
          </a:xfrm>
        </p:spPr>
        <p:txBody>
          <a:bodyPr vert="horz" lIns="0" tIns="45720" rIns="0" bIns="45720" anchor="ctr">
            <a:normAutofit/>
          </a:bodyPr>
          <a:lstStyle/>
          <a:p>
            <a:pPr lvl="0">
              <a:defRPr/>
            </a:pPr>
            <a:r>
              <a:rPr lang="ko-KR" altLang="en-US" sz="2777"/>
              <a:t>제작 내용</a:t>
            </a:r>
            <a:br>
              <a:rPr lang="ko-KR" altLang="en-US" sz="2777"/>
            </a:br>
            <a:r>
              <a:rPr lang="en-US" altLang="ko-KR" sz="1500"/>
              <a:t>-</a:t>
            </a:r>
            <a:r>
              <a:rPr lang="ko-KR" altLang="en-US" sz="1500"/>
              <a:t> 방법 및 결과</a:t>
            </a:r>
            <a:endParaRPr lang="ko-KR" altLang="en-US" sz="1500"/>
          </a:p>
        </p:txBody>
      </p:sp>
      <p:pic>
        <p:nvPicPr>
          <p:cNvPr id="5" name=""/>
          <p:cNvPicPr/>
          <p:nvPr/>
        </p:nvPicPr>
        <p:blipFill rotWithShape="1">
          <a:blip r:embed="rId3">
            <a:lum/>
          </a:blip>
          <a:srcRect/>
          <a:stretch>
            <a:fillRect/>
          </a:stretch>
        </p:blipFill>
        <p:spPr>
          <a:xfrm>
            <a:off x="2519246" y="1299703"/>
            <a:ext cx="7153506" cy="425859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</p:sld>
</file>

<file path=ppt/slides/slide14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idx="0"/>
          </p:nvPr>
        </p:nvSpPr>
        <p:spPr>
          <a:xfrm>
            <a:off x="619125" y="365126"/>
            <a:ext cx="10953750" cy="745218"/>
          </a:xfrm>
        </p:spPr>
        <p:txBody>
          <a:bodyPr vert="horz" lIns="0" tIns="45720" rIns="0" bIns="45720" anchor="ctr">
            <a:normAutofit/>
          </a:bodyPr>
          <a:lstStyle/>
          <a:p>
            <a:pPr lvl="0">
              <a:defRPr/>
            </a:pPr>
            <a:r>
              <a:rPr lang="ko-KR" altLang="en-US" sz="2777"/>
              <a:t>제작에 따른 결론</a:t>
            </a:r>
            <a:br>
              <a:rPr lang="ko-KR" altLang="en-US" sz="2777"/>
            </a:br>
            <a:r>
              <a:rPr lang="en-US" altLang="ko-KR" sz="1500"/>
              <a:t>-</a:t>
            </a:r>
            <a:r>
              <a:rPr lang="ko-KR" altLang="en-US" sz="1500"/>
              <a:t> 제작 결과에 대한 분석</a:t>
            </a:r>
            <a:endParaRPr lang="ko-KR" altLang="en-US" sz="1500"/>
          </a:p>
        </p:txBody>
      </p:sp>
      <p:pic>
        <p:nvPicPr>
          <p:cNvPr id="6" name=""/>
          <p:cNvPicPr>
            <a:picLocks noChangeAspect="1"/>
          </p:cNvPicPr>
          <p:nvPr/>
        </p:nvPicPr>
        <p:blipFill rotWithShape="1">
          <a:blip r:embed="rId2"/>
          <a:stretch>
            <a:fillRect/>
          </a:stretch>
        </p:blipFill>
        <p:spPr>
          <a:xfrm>
            <a:off x="775390" y="1740261"/>
            <a:ext cx="10641221" cy="3377478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</p:sld>
</file>

<file path=ppt/slides/slide15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idx="0"/>
          </p:nvPr>
        </p:nvSpPr>
        <p:spPr>
          <a:xfrm>
            <a:off x="619125" y="365126"/>
            <a:ext cx="10953750" cy="745218"/>
          </a:xfrm>
        </p:spPr>
        <p:txBody>
          <a:bodyPr vert="horz" lIns="0" tIns="45720" rIns="0" bIns="45720" anchor="ctr">
            <a:normAutofit/>
          </a:bodyPr>
          <a:lstStyle/>
          <a:p>
            <a:pPr lvl="0">
              <a:defRPr/>
            </a:pPr>
            <a:r>
              <a:rPr lang="ko-KR" altLang="en-US" sz="2777"/>
              <a:t>제작에 따른 결론</a:t>
            </a:r>
            <a:br>
              <a:rPr lang="ko-KR" altLang="en-US" sz="2777"/>
            </a:br>
            <a:r>
              <a:rPr lang="en-US" altLang="ko-KR" sz="1500"/>
              <a:t>-</a:t>
            </a:r>
            <a:r>
              <a:rPr lang="ko-KR" altLang="en-US" sz="1500"/>
              <a:t> 제작 결과에 대한 분석</a:t>
            </a:r>
            <a:endParaRPr lang="ko-KR" altLang="en-US" sz="1500"/>
          </a:p>
        </p:txBody>
      </p:sp>
      <p:sp>
        <p:nvSpPr>
          <p:cNvPr id="6" name="Rectangle 5"/>
          <p:cNvSpPr/>
          <p:nvPr/>
        </p:nvSpPr>
        <p:spPr>
          <a:xfrm>
            <a:off x="2750211" y="2871582"/>
            <a:ext cx="2157501" cy="756406"/>
          </a:xfrm>
          <a:prstGeom prst="rect">
            <a:avLst/>
          </a:prstGeom>
          <a:solidFill>
            <a:srgbClr val="016c8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n-US" sz="3600">
              <a:solidFill>
                <a:schemeClr val="tx1"/>
              </a:solidFill>
              <a:latin typeface="Segoe UI"/>
              <a:cs typeface="Segoe UI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907712" y="2871582"/>
            <a:ext cx="2157501" cy="756406"/>
          </a:xfrm>
          <a:prstGeom prst="rect">
            <a:avLst/>
          </a:prstGeom>
          <a:solidFill>
            <a:srgbClr val="015a6b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n-US" sz="3600">
              <a:solidFill>
                <a:schemeClr val="tx1"/>
              </a:solidFill>
              <a:latin typeface="Segoe UI"/>
              <a:cs typeface="Segoe UI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7057204" y="2871582"/>
            <a:ext cx="2157501" cy="756406"/>
          </a:xfrm>
          <a:prstGeom prst="rect">
            <a:avLst/>
          </a:prstGeom>
          <a:solidFill>
            <a:srgbClr val="016c8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n-US" sz="3600">
              <a:solidFill>
                <a:schemeClr val="tx1"/>
              </a:solidFill>
              <a:latin typeface="Segoe UI"/>
              <a:cs typeface="Segoe UI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746350" y="3641776"/>
            <a:ext cx="6468353" cy="5535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n-US" sz="3600">
              <a:solidFill>
                <a:schemeClr val="tx1"/>
              </a:solidFill>
              <a:latin typeface="Segoe UI"/>
              <a:cs typeface="Segoe UI"/>
            </a:endParaRPr>
          </a:p>
        </p:txBody>
      </p:sp>
      <p:sp>
        <p:nvSpPr>
          <p:cNvPr id="15" name="Rectangle 129"/>
          <p:cNvSpPr/>
          <p:nvPr/>
        </p:nvSpPr>
        <p:spPr>
          <a:xfrm>
            <a:off x="3065401" y="3106414"/>
            <a:ext cx="1527121" cy="32258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algn="ctr">
              <a:tabLst>
                <a:tab pos="355600" algn="l"/>
                <a:tab pos="711200" algn="l"/>
                <a:tab pos="1066800" algn="l"/>
                <a:tab pos="1422400" algn="l"/>
                <a:tab pos="1778000" algn="l"/>
                <a:tab pos="2133600" algn="l"/>
                <a:tab pos="2489200" algn="l"/>
                <a:tab pos="2844800" algn="l"/>
                <a:tab pos="3200400" algn="l"/>
                <a:tab pos="3556000" algn="l"/>
                <a:tab pos="3911599" algn="l"/>
                <a:tab pos="4267200" algn="l"/>
              </a:tabLst>
              <a:defRPr/>
            </a:pPr>
            <a:endParaRPr lang="en-US" sz="2000">
              <a:solidFill>
                <a:srgbClr val="ffffff"/>
              </a:solidFill>
              <a:latin typeface="Segoe UI Light"/>
              <a:ea typeface="MS PGothic"/>
              <a:cs typeface="Segoe UI Light"/>
              <a:sym typeface="Arial"/>
            </a:endParaRPr>
          </a:p>
        </p:txBody>
      </p:sp>
      <p:sp>
        <p:nvSpPr>
          <p:cNvPr id="16" name="Rectangle 129"/>
          <p:cNvSpPr/>
          <p:nvPr/>
        </p:nvSpPr>
        <p:spPr>
          <a:xfrm>
            <a:off x="5211304" y="3106414"/>
            <a:ext cx="1527121" cy="32258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algn="ctr">
              <a:tabLst>
                <a:tab pos="355600" algn="l"/>
                <a:tab pos="711200" algn="l"/>
                <a:tab pos="1066800" algn="l"/>
                <a:tab pos="1422400" algn="l"/>
                <a:tab pos="1778000" algn="l"/>
                <a:tab pos="2133600" algn="l"/>
                <a:tab pos="2489200" algn="l"/>
                <a:tab pos="2844800" algn="l"/>
                <a:tab pos="3200400" algn="l"/>
                <a:tab pos="3556000" algn="l"/>
                <a:tab pos="3911599" algn="l"/>
                <a:tab pos="4267200" algn="l"/>
              </a:tabLst>
              <a:defRPr/>
            </a:pPr>
            <a:r>
              <a:rPr lang="ko-KR" altLang="en-US" sz="2000">
                <a:solidFill>
                  <a:srgbClr val="ffffff"/>
                </a:solidFill>
                <a:latin typeface="Segoe UI Light"/>
                <a:ea typeface="MS PGothic"/>
                <a:cs typeface="Segoe UI Light"/>
                <a:sym typeface="Arial"/>
              </a:rPr>
              <a:t>파일</a:t>
            </a:r>
            <a:r>
              <a:rPr lang="en-US" altLang="ko-KR" sz="2000">
                <a:solidFill>
                  <a:srgbClr val="ffffff"/>
                </a:solidFill>
                <a:latin typeface="Segoe UI Light"/>
                <a:ea typeface="MS PGothic"/>
                <a:cs typeface="Segoe UI Light"/>
                <a:sym typeface="Arial"/>
              </a:rPr>
              <a:t>1</a:t>
            </a:r>
            <a:endParaRPr lang="en-US" altLang="ko-KR" sz="2000">
              <a:solidFill>
                <a:srgbClr val="ffffff"/>
              </a:solidFill>
              <a:latin typeface="Segoe UI Light"/>
              <a:ea typeface="MS PGothic"/>
              <a:cs typeface="Segoe UI Light"/>
              <a:sym typeface="Arial"/>
            </a:endParaRPr>
          </a:p>
        </p:txBody>
      </p:sp>
      <p:sp>
        <p:nvSpPr>
          <p:cNvPr id="17" name="Rectangle 129"/>
          <p:cNvSpPr/>
          <p:nvPr/>
        </p:nvSpPr>
        <p:spPr>
          <a:xfrm>
            <a:off x="7372394" y="3106414"/>
            <a:ext cx="1527121" cy="32258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algn="ctr">
              <a:tabLst>
                <a:tab pos="355600" algn="l"/>
                <a:tab pos="711200" algn="l"/>
                <a:tab pos="1066800" algn="l"/>
                <a:tab pos="1422400" algn="l"/>
                <a:tab pos="1778000" algn="l"/>
                <a:tab pos="2133600" algn="l"/>
                <a:tab pos="2489200" algn="l"/>
                <a:tab pos="2844800" algn="l"/>
                <a:tab pos="3200400" algn="l"/>
                <a:tab pos="3556000" algn="l"/>
                <a:tab pos="3911599" algn="l"/>
                <a:tab pos="4267200" algn="l"/>
              </a:tabLst>
              <a:defRPr/>
            </a:pPr>
            <a:r>
              <a:rPr lang="ko-KR" altLang="en-US" sz="2000">
                <a:solidFill>
                  <a:srgbClr val="ffffff"/>
                </a:solidFill>
                <a:latin typeface="Segoe UI Light"/>
                <a:ea typeface="MS PGothic"/>
                <a:cs typeface="Segoe UI Light"/>
                <a:sym typeface="Arial"/>
              </a:rPr>
              <a:t>파일</a:t>
            </a:r>
            <a:r>
              <a:rPr lang="en-US" altLang="ko-KR" sz="2000">
                <a:solidFill>
                  <a:srgbClr val="ffffff"/>
                </a:solidFill>
                <a:latin typeface="Segoe UI Light"/>
                <a:ea typeface="MS PGothic"/>
                <a:cs typeface="Segoe UI Light"/>
                <a:sym typeface="Arial"/>
              </a:rPr>
              <a:t>2</a:t>
            </a:r>
            <a:endParaRPr lang="en-US" altLang="ko-KR" sz="2000">
              <a:solidFill>
                <a:srgbClr val="ffffff"/>
              </a:solidFill>
              <a:latin typeface="Segoe UI Light"/>
              <a:ea typeface="MS PGothic"/>
              <a:cs typeface="Segoe UI Light"/>
              <a:sym typeface="Arial"/>
            </a:endParaRPr>
          </a:p>
        </p:txBody>
      </p:sp>
      <p:sp>
        <p:nvSpPr>
          <p:cNvPr id="30" name="Rectangle 129"/>
          <p:cNvSpPr/>
          <p:nvPr/>
        </p:nvSpPr>
        <p:spPr>
          <a:xfrm>
            <a:off x="3090692" y="3735062"/>
            <a:ext cx="1527121" cy="32258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algn="ctr">
              <a:tabLst>
                <a:tab pos="355600" algn="l"/>
                <a:tab pos="711200" algn="l"/>
                <a:tab pos="1066800" algn="l"/>
                <a:tab pos="1422400" algn="l"/>
                <a:tab pos="1778000" algn="l"/>
                <a:tab pos="2133600" algn="l"/>
                <a:tab pos="2489200" algn="l"/>
                <a:tab pos="2844800" algn="l"/>
                <a:tab pos="3200400" algn="l"/>
                <a:tab pos="3556000" algn="l"/>
                <a:tab pos="3911599" algn="l"/>
                <a:tab pos="4267200" algn="l"/>
              </a:tabLst>
              <a:defRPr/>
            </a:pPr>
            <a:r>
              <a:rPr lang="ko-KR" altLang="en-US" sz="2000">
                <a:solidFill>
                  <a:schemeClr val="tx1"/>
                </a:solidFill>
                <a:latin typeface="Segoe UI Light"/>
                <a:ea typeface="MS PGothic"/>
                <a:cs typeface="Segoe UI Light"/>
                <a:sym typeface="Arial"/>
              </a:rPr>
              <a:t>표준편차</a:t>
            </a:r>
            <a:endParaRPr lang="ko-KR" altLang="en-US" sz="2000">
              <a:solidFill>
                <a:schemeClr val="tx1"/>
              </a:solidFill>
              <a:latin typeface="Segoe UI Light"/>
              <a:ea typeface="MS PGothic"/>
              <a:cs typeface="Segoe UI Light"/>
              <a:sym typeface="Arial"/>
            </a:endParaRPr>
          </a:p>
        </p:txBody>
      </p:sp>
      <p:sp>
        <p:nvSpPr>
          <p:cNvPr id="32" name="Rectangle 129"/>
          <p:cNvSpPr/>
          <p:nvPr/>
        </p:nvSpPr>
        <p:spPr>
          <a:xfrm>
            <a:off x="5332439" y="3735927"/>
            <a:ext cx="1527121" cy="32258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algn="ctr">
              <a:tabLst>
                <a:tab pos="355600" algn="l"/>
                <a:tab pos="711200" algn="l"/>
                <a:tab pos="1066800" algn="l"/>
                <a:tab pos="1422400" algn="l"/>
                <a:tab pos="1778000" algn="l"/>
                <a:tab pos="2133600" algn="l"/>
                <a:tab pos="2489200" algn="l"/>
                <a:tab pos="2844800" algn="l"/>
                <a:tab pos="3200400" algn="l"/>
                <a:tab pos="3556000" algn="l"/>
                <a:tab pos="3911599" algn="l"/>
                <a:tab pos="4267200" algn="l"/>
              </a:tabLst>
              <a:defRPr/>
            </a:pPr>
            <a:r>
              <a:rPr lang="en-US" altLang="ko-KR" sz="2000">
                <a:solidFill>
                  <a:schemeClr val="tx1"/>
                </a:solidFill>
                <a:latin typeface="Segoe UI Light"/>
                <a:ea typeface="MS PGothic"/>
                <a:cs typeface="Segoe UI Light"/>
                <a:sym typeface="Arial"/>
              </a:rPr>
              <a:t>2211132</a:t>
            </a:r>
            <a:endParaRPr lang="en-US" altLang="ko-KR" sz="2000">
              <a:solidFill>
                <a:schemeClr val="tx1"/>
              </a:solidFill>
              <a:latin typeface="Segoe UI Light"/>
              <a:ea typeface="MS PGothic"/>
              <a:cs typeface="Segoe UI Light"/>
              <a:sym typeface="Arial"/>
            </a:endParaRPr>
          </a:p>
        </p:txBody>
      </p:sp>
      <p:sp>
        <p:nvSpPr>
          <p:cNvPr id="33" name="Rectangle 129"/>
          <p:cNvSpPr/>
          <p:nvPr/>
        </p:nvSpPr>
        <p:spPr>
          <a:xfrm>
            <a:off x="7388632" y="3735929"/>
            <a:ext cx="1527121" cy="32258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algn="ctr">
              <a:tabLst>
                <a:tab pos="355600" algn="l"/>
                <a:tab pos="711200" algn="l"/>
                <a:tab pos="1066800" algn="l"/>
                <a:tab pos="1422400" algn="l"/>
                <a:tab pos="1778000" algn="l"/>
                <a:tab pos="2133600" algn="l"/>
                <a:tab pos="2489200" algn="l"/>
                <a:tab pos="2844800" algn="l"/>
                <a:tab pos="3200400" algn="l"/>
                <a:tab pos="3556000" algn="l"/>
                <a:tab pos="3911599" algn="l"/>
                <a:tab pos="4267200" algn="l"/>
              </a:tabLst>
              <a:defRPr/>
            </a:pPr>
            <a:r>
              <a:rPr lang="en-US" altLang="ko-KR" sz="2000">
                <a:solidFill>
                  <a:schemeClr val="tx1"/>
                </a:solidFill>
                <a:latin typeface="Segoe UI Light"/>
                <a:ea typeface="MS PGothic"/>
                <a:cs typeface="Segoe UI Light"/>
                <a:sym typeface="Arial"/>
              </a:rPr>
              <a:t>503.4572</a:t>
            </a:r>
            <a:endParaRPr lang="en-US" altLang="ko-KR" sz="2000">
              <a:solidFill>
                <a:schemeClr val="tx1"/>
              </a:solidFill>
              <a:latin typeface="Segoe UI Light"/>
              <a:ea typeface="MS PGothic"/>
              <a:cs typeface="Segoe UI Light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</p:sld>
</file>

<file path=ppt/slides/slide16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9" descr="Diagram  Description automatically generated with medium confidence"/>
          <p:cNvPicPr>
            <a:picLocks noChangeAspect="1"/>
          </p:cNvPicPr>
          <p:nvPr/>
        </p:nvPicPr>
        <p:blipFill rotWithShape="1">
          <a:blip r:embed="rId2"/>
          <a:srcRect t="43630" b="23080"/>
          <a:stretch>
            <a:fillRect/>
          </a:stretch>
        </p:blipFill>
        <p:spPr>
          <a:xfrm>
            <a:off x="0" y="0"/>
            <a:ext cx="12191999" cy="2706206"/>
          </a:xfrm>
          <a:prstGeom prst="rect">
            <a:avLst/>
          </a:prstGeom>
        </p:spPr>
      </p:pic>
      <p:sp>
        <p:nvSpPr>
          <p:cNvPr id="5" name="Rectangle 18"/>
          <p:cNvSpPr/>
          <p:nvPr/>
        </p:nvSpPr>
        <p:spPr>
          <a:xfrm>
            <a:off x="0" y="0"/>
            <a:ext cx="12191999" cy="2706206"/>
          </a:xfrm>
          <a:prstGeom prst="rect">
            <a:avLst/>
          </a:prstGeom>
          <a:solidFill>
            <a:srgbClr val="016c81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idx="0"/>
          </p:nvPr>
        </p:nvSpPr>
        <p:spPr>
          <a:xfrm>
            <a:off x="619125" y="365126"/>
            <a:ext cx="10953750" cy="745218"/>
          </a:xfrm>
        </p:spPr>
        <p:txBody>
          <a:bodyPr vert="horz" lIns="0" tIns="45720" rIns="0" bIns="45720" anchor="ctr">
            <a:normAutofit/>
          </a:bodyPr>
          <a:lstStyle/>
          <a:p>
            <a:pPr lvl="0">
              <a:defRPr/>
            </a:pPr>
            <a:r>
              <a:rPr lang="ko-KR" altLang="en-US" sz="2777"/>
              <a:t>제작에 따른 결론</a:t>
            </a:r>
            <a:br>
              <a:rPr lang="ko-KR" altLang="en-US" sz="2777"/>
            </a:br>
            <a:r>
              <a:rPr lang="en-US" altLang="ko-KR" sz="1500"/>
              <a:t>-</a:t>
            </a:r>
            <a:r>
              <a:rPr lang="ko-KR" altLang="en-US" sz="1500"/>
              <a:t> 제작 결과에 대한 분석</a:t>
            </a:r>
            <a:endParaRPr lang="ko-KR" altLang="en-US" sz="1500"/>
          </a:p>
        </p:txBody>
      </p:sp>
      <p:pic>
        <p:nvPicPr>
          <p:cNvPr id="11" name=""/>
          <p:cNvPicPr>
            <a:picLocks noChangeAspect="1"/>
          </p:cNvPicPr>
          <p:nvPr/>
        </p:nvPicPr>
        <p:blipFill rotWithShape="1">
          <a:blip r:embed="rId3"/>
          <a:stretch>
            <a:fillRect/>
          </a:stretch>
        </p:blipFill>
        <p:spPr>
          <a:xfrm>
            <a:off x="1515628" y="2973963"/>
            <a:ext cx="3813752" cy="3351734"/>
          </a:xfrm>
          <a:prstGeom prst="rect">
            <a:avLst/>
          </a:prstGeom>
        </p:spPr>
      </p:pic>
      <p:pic>
        <p:nvPicPr>
          <p:cNvPr id="12" name=""/>
          <p:cNvPicPr>
            <a:picLocks noChangeAspect="1"/>
          </p:cNvPicPr>
          <p:nvPr/>
        </p:nvPicPr>
        <p:blipFill rotWithShape="1">
          <a:blip r:embed="rId4"/>
          <a:stretch>
            <a:fillRect/>
          </a:stretch>
        </p:blipFill>
        <p:spPr>
          <a:xfrm>
            <a:off x="6714403" y="2853459"/>
            <a:ext cx="3666404" cy="3517890"/>
          </a:xfrm>
          <a:prstGeom prst="rect">
            <a:avLst/>
          </a:prstGeom>
        </p:spPr>
      </p:pic>
      <p:sp>
        <p:nvSpPr>
          <p:cNvPr id="13" name=""/>
          <p:cNvSpPr txBox="1"/>
          <p:nvPr/>
        </p:nvSpPr>
        <p:spPr>
          <a:xfrm>
            <a:off x="4418771" y="6323771"/>
            <a:ext cx="816169" cy="360874"/>
          </a:xfrm>
          <a:prstGeom prst="rect">
            <a:avLst/>
          </a:prstGeom>
        </p:spPr>
        <p:txBody>
          <a:bodyPr wrap="none">
            <a:spAutoFit/>
          </a:bodyPr>
          <a:p>
            <a:pPr>
              <a:defRPr/>
            </a:pPr>
            <a:r>
              <a:rPr lang="ko-KR" altLang="en-US"/>
              <a:t>파일 </a:t>
            </a:r>
            <a:r>
              <a:rPr lang="en-US" altLang="ko-KR"/>
              <a:t>1</a:t>
            </a:r>
            <a:endParaRPr lang="en-US" altLang="ko-KR"/>
          </a:p>
        </p:txBody>
      </p:sp>
      <p:sp>
        <p:nvSpPr>
          <p:cNvPr id="14" name=""/>
          <p:cNvSpPr txBox="1"/>
          <p:nvPr/>
        </p:nvSpPr>
        <p:spPr>
          <a:xfrm>
            <a:off x="9731236" y="6285671"/>
            <a:ext cx="818654" cy="36087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ko-KR" altLang="en-US"/>
              <a:t>파일 </a:t>
            </a:r>
            <a:r>
              <a:rPr lang="en-US" altLang="ko-KR"/>
              <a:t>2</a:t>
            </a:r>
            <a:endParaRPr lang="en-US" altLang="ko-KR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</p:sld>
</file>

<file path=ppt/slides/slide17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34" descr="A picture containing text, person, computer  Description automatically generated"/>
          <p:cNvPicPr>
            <a:picLocks noChangeAspect="1"/>
          </p:cNvPicPr>
          <p:nvPr/>
        </p:nvPicPr>
        <p:blipFill rotWithShape="1">
          <a:blip r:embed="rId2">
            <a:alphaModFix amt="50000"/>
          </a:blip>
          <a:stretch>
            <a:fillRect/>
          </a:stretch>
        </p:blipFill>
        <p:spPr>
          <a:xfrm>
            <a:off x="7620000" y="0"/>
            <a:ext cx="4572000" cy="6858000"/>
          </a:xfrm>
          <a:prstGeom prst="rect">
            <a:avLst/>
          </a:prstGeom>
        </p:spPr>
      </p:pic>
      <p:sp>
        <p:nvSpPr>
          <p:cNvPr id="4" name="Rectangle 137"/>
          <p:cNvSpPr/>
          <p:nvPr/>
        </p:nvSpPr>
        <p:spPr>
          <a:xfrm>
            <a:off x="7619998" y="0"/>
            <a:ext cx="4572001" cy="6858000"/>
          </a:xfrm>
          <a:prstGeom prst="rect">
            <a:avLst/>
          </a:prstGeom>
          <a:solidFill>
            <a:srgbClr val="016c81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 idx="0"/>
          </p:nvPr>
        </p:nvSpPr>
        <p:spPr>
          <a:xfrm>
            <a:off x="619125" y="365126"/>
            <a:ext cx="10953750" cy="745218"/>
          </a:xfrm>
        </p:spPr>
        <p:txBody>
          <a:bodyPr vert="horz" lIns="0" tIns="45720" rIns="0" bIns="45720" anchor="ctr">
            <a:normAutofit/>
          </a:bodyPr>
          <a:lstStyle/>
          <a:p>
            <a:pPr lvl="0">
              <a:defRPr/>
            </a:pPr>
            <a:r>
              <a:rPr lang="ko-KR" altLang="en-US" sz="2777"/>
              <a:t>변경에 따른 구현 계획</a:t>
            </a:r>
            <a:br>
              <a:rPr lang="ko-KR" altLang="en-US" sz="2777"/>
            </a:br>
            <a:r>
              <a:rPr lang="en-US" altLang="ko-KR" sz="1500"/>
              <a:t>-</a:t>
            </a:r>
            <a:r>
              <a:rPr lang="ko-KR" altLang="en-US" sz="1500"/>
              <a:t> 사전 방식 알고리즘 도입</a:t>
            </a:r>
            <a:endParaRPr lang="ko-KR" altLang="en-US" sz="1500"/>
          </a:p>
        </p:txBody>
      </p:sp>
      <p:pic>
        <p:nvPicPr>
          <p:cNvPr id="7" name=""/>
          <p:cNvPicPr/>
          <p:nvPr/>
        </p:nvPicPr>
        <p:blipFill rotWithShape="1">
          <a:blip r:embed="rId3">
            <a:lum/>
          </a:blip>
          <a:srcRect/>
          <a:stretch>
            <a:fillRect/>
          </a:stretch>
        </p:blipFill>
        <p:spPr>
          <a:xfrm>
            <a:off x="335540" y="1764289"/>
            <a:ext cx="6766433" cy="1074420"/>
          </a:xfrm>
          <a:prstGeom prst="rect">
            <a:avLst/>
          </a:prstGeom>
        </p:spPr>
      </p:pic>
      <p:grpSp>
        <p:nvGrpSpPr>
          <p:cNvPr id="9" name="Group 61"/>
          <p:cNvGrpSpPr/>
          <p:nvPr/>
        </p:nvGrpSpPr>
        <p:grpSpPr>
          <a:xfrm rot="0">
            <a:off x="2759436" y="3732031"/>
            <a:ext cx="1743076" cy="1966690"/>
            <a:chOff x="723898" y="1892300"/>
            <a:chExt cx="1743076" cy="1966690"/>
          </a:xfrm>
        </p:grpSpPr>
        <p:sp>
          <p:nvSpPr>
            <p:cNvPr id="10" name="Rectangle 63"/>
            <p:cNvSpPr/>
            <p:nvPr/>
          </p:nvSpPr>
          <p:spPr>
            <a:xfrm>
              <a:off x="723899" y="2400229"/>
              <a:ext cx="1743075" cy="145876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ID"/>
            </a:p>
          </p:txBody>
        </p:sp>
        <p:sp>
          <p:nvSpPr>
            <p:cNvPr id="11" name="Rectangle 64"/>
            <p:cNvSpPr/>
            <p:nvPr/>
          </p:nvSpPr>
          <p:spPr>
            <a:xfrm>
              <a:off x="723898" y="1892300"/>
              <a:ext cx="1743075" cy="507929"/>
            </a:xfrm>
            <a:prstGeom prst="rect">
              <a:avLst/>
            </a:prstGeom>
            <a:solidFill>
              <a:srgbClr val="016c8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altLang="ko-KR" sz="2000">
                  <a:latin typeface="Segoe UI Light"/>
                  <a:cs typeface="Segoe UI Light"/>
                </a:rPr>
                <a:t>LZ77</a:t>
              </a:r>
              <a:endParaRPr lang="en-US" altLang="ko-KR" sz="2000">
                <a:latin typeface="Segoe UI Light"/>
                <a:cs typeface="Segoe UI Light"/>
              </a:endParaRPr>
            </a:p>
          </p:txBody>
        </p:sp>
        <p:sp>
          <p:nvSpPr>
            <p:cNvPr id="12" name="Rectangle 65"/>
            <p:cNvSpPr/>
            <p:nvPr/>
          </p:nvSpPr>
          <p:spPr>
            <a:xfrm>
              <a:off x="828672" y="2967364"/>
              <a:ext cx="1533528" cy="505576"/>
            </a:xfrm>
            <a:prstGeom prst="rect">
              <a:avLst/>
            </a:prstGeom>
          </p:spPr>
          <p:txBody>
            <a:bodyPr wrap="square" lIns="0" tIns="0" rIns="0" bIns="0" anchor="b" anchorCtr="0">
              <a:spAutoFit/>
            </a:bodyPr>
            <a:lstStyle/>
            <a:p>
              <a:pPr algn="ctr">
                <a:spcAft>
                  <a:spcPts val="600"/>
                </a:spcAft>
                <a:defRPr/>
              </a:pPr>
              <a:r>
                <a:rPr lang="ko-KR" altLang="en-US" sz="1400" b="1">
                  <a:latin typeface="Segoe UI"/>
                  <a:cs typeface="Segoe UI"/>
                </a:rPr>
                <a:t>사전</a:t>
              </a:r>
              <a:r>
                <a:rPr lang="en-US" altLang="ko-KR" sz="1400" b="1">
                  <a:latin typeface="Segoe UI"/>
                  <a:cs typeface="Segoe UI"/>
                </a:rPr>
                <a:t> </a:t>
              </a:r>
              <a:r>
                <a:rPr lang="ko-KR" altLang="en-US" sz="1400" b="1">
                  <a:latin typeface="Segoe UI"/>
                  <a:cs typeface="Segoe UI"/>
                </a:rPr>
                <a:t>방식 알고리즘</a:t>
              </a:r>
              <a:r>
                <a:rPr lang="en-ID" sz="1400" b="1">
                  <a:latin typeface="Segoe UI"/>
                  <a:cs typeface="Segoe UI"/>
                </a:rPr>
                <a:t> </a:t>
              </a:r>
              <a:endParaRPr lang="en-ID" sz="1400" b="1">
                <a:latin typeface="Segoe UI"/>
                <a:cs typeface="Segoe UI"/>
              </a:endParaRPr>
            </a:p>
            <a:p>
              <a:pPr algn="ctr">
                <a:spcAft>
                  <a:spcPts val="600"/>
                </a:spcAft>
                <a:defRPr/>
              </a:pPr>
              <a:r>
                <a:rPr lang="ko-KR" altLang="en-US" sz="1400">
                  <a:latin typeface="Segoe UI Light"/>
                </a:rPr>
                <a:t>시간 복잡도 </a:t>
              </a:r>
              <a:r>
                <a:rPr lang="en-US" altLang="ko-KR" sz="1400">
                  <a:latin typeface="Segoe UI Light"/>
                </a:rPr>
                <a:t>:</a:t>
              </a:r>
              <a:r>
                <a:rPr lang="ko-KR" altLang="en-US" sz="1400">
                  <a:latin typeface="Segoe UI Light"/>
                </a:rPr>
                <a:t> </a:t>
              </a:r>
              <a:r>
                <a:rPr lang="en-US" altLang="ko-KR" sz="1400">
                  <a:latin typeface="Segoe UI Light"/>
                </a:rPr>
                <a:t>O(n)</a:t>
              </a:r>
              <a:endParaRPr lang="en-US" altLang="ko-KR" sz="1400">
                <a:latin typeface="Segoe UI Light"/>
              </a:endParaRPr>
            </a:p>
          </p:txBody>
        </p:sp>
      </p:grpSp>
      <p:grpSp>
        <p:nvGrpSpPr>
          <p:cNvPr id="13" name="Graphic 10"/>
          <p:cNvGrpSpPr/>
          <p:nvPr/>
        </p:nvGrpSpPr>
        <p:grpSpPr>
          <a:xfrm rot="0">
            <a:off x="3438919" y="3161794"/>
            <a:ext cx="384110" cy="267206"/>
            <a:chOff x="10901362" y="4286630"/>
            <a:chExt cx="219075" cy="152400"/>
          </a:xfrm>
          <a:noFill/>
        </p:grpSpPr>
        <p:sp>
          <p:nvSpPr>
            <p:cNvPr id="14" name="Freeform: Shape 102"/>
            <p:cNvSpPr/>
            <p:nvPr/>
          </p:nvSpPr>
          <p:spPr>
            <a:xfrm>
              <a:off x="10996612" y="4381880"/>
              <a:ext cx="28575" cy="28575"/>
            </a:xfrm>
            <a:custGeom>
              <a:avLst/>
              <a:gdLst>
                <a:gd name="connsiteX0" fmla="*/ 28575 w 28575"/>
                <a:gd name="connsiteY0" fmla="*/ 14288 h 28575"/>
                <a:gd name="connsiteX1" fmla="*/ 14288 w 28575"/>
                <a:gd name="connsiteY1" fmla="*/ 28575 h 28575"/>
                <a:gd name="connsiteX2" fmla="*/ 0 w 28575"/>
                <a:gd name="connsiteY2" fmla="*/ 14288 h 28575"/>
                <a:gd name="connsiteX3" fmla="*/ 14288 w 28575"/>
                <a:gd name="connsiteY3" fmla="*/ 0 h 28575"/>
                <a:gd name="connsiteX4" fmla="*/ 28575 w 28575"/>
                <a:gd name="connsiteY4" fmla="*/ 14288 h 28575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575" h="28575">
                  <a:moveTo>
                    <a:pt x="28575" y="14288"/>
                  </a:moveTo>
                  <a:cubicBezTo>
                    <a:pt x="28575" y="22178"/>
                    <a:pt x="22178" y="28575"/>
                    <a:pt x="14288" y="28575"/>
                  </a:cubicBezTo>
                  <a:cubicBezTo>
                    <a:pt x="6397" y="28575"/>
                    <a:pt x="0" y="22178"/>
                    <a:pt x="0" y="14288"/>
                  </a:cubicBezTo>
                  <a:cubicBezTo>
                    <a:pt x="0" y="6397"/>
                    <a:pt x="6397" y="0"/>
                    <a:pt x="14288" y="0"/>
                  </a:cubicBezTo>
                  <a:cubicBezTo>
                    <a:pt x="22178" y="0"/>
                    <a:pt x="28575" y="6397"/>
                    <a:pt x="28575" y="14288"/>
                  </a:cubicBezTo>
                  <a:close/>
                </a:path>
              </a:pathLst>
            </a:custGeom>
            <a:noFill/>
            <a:ln w="12700" cap="rnd">
              <a:solidFill>
                <a:srgbClr val="015a6b"/>
              </a:solidFill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  <p:sp>
          <p:nvSpPr>
            <p:cNvPr id="15" name="Freeform: Shape 103"/>
            <p:cNvSpPr/>
            <p:nvPr/>
          </p:nvSpPr>
          <p:spPr>
            <a:xfrm>
              <a:off x="11020996" y="4338922"/>
              <a:ext cx="47148" cy="47148"/>
            </a:xfrm>
            <a:custGeom>
              <a:avLst/>
              <a:gdLst>
                <a:gd name="connsiteX0" fmla="*/ 0 w 47148"/>
                <a:gd name="connsiteY0" fmla="*/ 47149 h 47148"/>
                <a:gd name="connsiteX1" fmla="*/ 47149 w 47148"/>
                <a:gd name="connsiteY1" fmla="*/ 0 h 47148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148" h="47148">
                  <a:moveTo>
                    <a:pt x="0" y="47149"/>
                  </a:moveTo>
                  <a:lnTo>
                    <a:pt x="47149" y="0"/>
                  </a:lnTo>
                </a:path>
              </a:pathLst>
            </a:custGeom>
            <a:ln w="12700" cap="rnd">
              <a:solidFill>
                <a:srgbClr val="015a6b"/>
              </a:solidFill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  <p:sp>
          <p:nvSpPr>
            <p:cNvPr id="16" name="Freeform: Shape 104"/>
            <p:cNvSpPr/>
            <p:nvPr/>
          </p:nvSpPr>
          <p:spPr>
            <a:xfrm>
              <a:off x="10920412" y="4400930"/>
              <a:ext cx="19050" cy="9525"/>
            </a:xfrm>
            <a:custGeom>
              <a:avLst/>
              <a:gdLst>
                <a:gd name="connsiteX0" fmla="*/ 0 w 19050"/>
                <a:gd name="connsiteY0" fmla="*/ 0 h 9525"/>
                <a:gd name="connsiteX1" fmla="*/ 19050 w 19050"/>
                <a:gd name="connsiteY1" fmla="*/ 0 h 9525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050" h="9525">
                  <a:moveTo>
                    <a:pt x="0" y="0"/>
                  </a:moveTo>
                  <a:lnTo>
                    <a:pt x="19050" y="0"/>
                  </a:lnTo>
                </a:path>
              </a:pathLst>
            </a:custGeom>
            <a:ln w="12700" cap="rnd">
              <a:solidFill>
                <a:srgbClr val="015a6b"/>
              </a:solidFill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  <p:sp>
          <p:nvSpPr>
            <p:cNvPr id="17" name="Freeform: Shape 105"/>
            <p:cNvSpPr/>
            <p:nvPr/>
          </p:nvSpPr>
          <p:spPr>
            <a:xfrm>
              <a:off x="11082337" y="4400930"/>
              <a:ext cx="19050" cy="9525"/>
            </a:xfrm>
            <a:custGeom>
              <a:avLst/>
              <a:gdLst>
                <a:gd name="connsiteX0" fmla="*/ 19050 w 19050"/>
                <a:gd name="connsiteY0" fmla="*/ 0 h 9525"/>
                <a:gd name="connsiteX1" fmla="*/ 0 w 19050"/>
                <a:gd name="connsiteY1" fmla="*/ 0 h 9525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050" h="9525">
                  <a:moveTo>
                    <a:pt x="19050" y="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rgbClr val="015a6b"/>
              </a:solidFill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  <p:sp>
          <p:nvSpPr>
            <p:cNvPr id="18" name="Freeform: Shape 106"/>
            <p:cNvSpPr/>
            <p:nvPr/>
          </p:nvSpPr>
          <p:spPr>
            <a:xfrm>
              <a:off x="11076908" y="4361592"/>
              <a:ext cx="17621" cy="7239"/>
            </a:xfrm>
            <a:custGeom>
              <a:avLst/>
              <a:gdLst>
                <a:gd name="connsiteX0" fmla="*/ 17621 w 17621"/>
                <a:gd name="connsiteY0" fmla="*/ 0 h 7239"/>
                <a:gd name="connsiteX1" fmla="*/ 0 w 17621"/>
                <a:gd name="connsiteY1" fmla="*/ 7239 h 7239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621" h="7239">
                  <a:moveTo>
                    <a:pt x="17621" y="0"/>
                  </a:moveTo>
                  <a:lnTo>
                    <a:pt x="0" y="7239"/>
                  </a:lnTo>
                </a:path>
              </a:pathLst>
            </a:custGeom>
            <a:ln w="12700" cap="rnd">
              <a:solidFill>
                <a:srgbClr val="015a6b"/>
              </a:solidFill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  <p:sp>
          <p:nvSpPr>
            <p:cNvPr id="19" name="Freeform: Shape 107"/>
            <p:cNvSpPr/>
            <p:nvPr/>
          </p:nvSpPr>
          <p:spPr>
            <a:xfrm>
              <a:off x="11038236" y="4312633"/>
              <a:ext cx="7238" cy="17525"/>
            </a:xfrm>
            <a:custGeom>
              <a:avLst/>
              <a:gdLst>
                <a:gd name="connsiteX0" fmla="*/ 7239 w 7238"/>
                <a:gd name="connsiteY0" fmla="*/ 0 h 17525"/>
                <a:gd name="connsiteX1" fmla="*/ 0 w 7238"/>
                <a:gd name="connsiteY1" fmla="*/ 17526 h 17525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38" h="17525">
                  <a:moveTo>
                    <a:pt x="7239" y="0"/>
                  </a:moveTo>
                  <a:lnTo>
                    <a:pt x="0" y="17526"/>
                  </a:lnTo>
                </a:path>
              </a:pathLst>
            </a:custGeom>
            <a:ln w="12700" cap="rnd">
              <a:solidFill>
                <a:srgbClr val="015a6b"/>
              </a:solidFill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  <p:sp>
          <p:nvSpPr>
            <p:cNvPr id="20" name="Freeform: Shape 108"/>
            <p:cNvSpPr/>
            <p:nvPr/>
          </p:nvSpPr>
          <p:spPr>
            <a:xfrm>
              <a:off x="11010900" y="4305680"/>
              <a:ext cx="9525" cy="19050"/>
            </a:xfrm>
            <a:custGeom>
              <a:avLst/>
              <a:gdLst>
                <a:gd name="connsiteX0" fmla="*/ 0 w 9525"/>
                <a:gd name="connsiteY0" fmla="*/ 0 h 19050"/>
                <a:gd name="connsiteX1" fmla="*/ 0 w 9525"/>
                <a:gd name="connsiteY1" fmla="*/ 19050 h 19050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19050">
                  <a:moveTo>
                    <a:pt x="0" y="0"/>
                  </a:moveTo>
                  <a:lnTo>
                    <a:pt x="0" y="19050"/>
                  </a:lnTo>
                </a:path>
              </a:pathLst>
            </a:custGeom>
            <a:ln w="12700" cap="rnd">
              <a:solidFill>
                <a:srgbClr val="015a6b"/>
              </a:solidFill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  <p:sp>
          <p:nvSpPr>
            <p:cNvPr id="21" name="Freeform: Shape 109"/>
            <p:cNvSpPr/>
            <p:nvPr/>
          </p:nvSpPr>
          <p:spPr>
            <a:xfrm>
              <a:off x="10976324" y="4312633"/>
              <a:ext cx="7238" cy="17525"/>
            </a:xfrm>
            <a:custGeom>
              <a:avLst/>
              <a:gdLst>
                <a:gd name="connsiteX0" fmla="*/ 0 w 7238"/>
                <a:gd name="connsiteY0" fmla="*/ 0 h 17525"/>
                <a:gd name="connsiteX1" fmla="*/ 7239 w 7238"/>
                <a:gd name="connsiteY1" fmla="*/ 17526 h 17525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38" h="17525">
                  <a:moveTo>
                    <a:pt x="0" y="0"/>
                  </a:moveTo>
                  <a:lnTo>
                    <a:pt x="7239" y="17526"/>
                  </a:lnTo>
                </a:path>
              </a:pathLst>
            </a:custGeom>
            <a:ln w="12700" cap="rnd">
              <a:solidFill>
                <a:srgbClr val="015a6b"/>
              </a:solidFill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  <p:sp>
          <p:nvSpPr>
            <p:cNvPr id="22" name="Freeform: Shape 110"/>
            <p:cNvSpPr/>
            <p:nvPr/>
          </p:nvSpPr>
          <p:spPr>
            <a:xfrm>
              <a:off x="10946892" y="4332255"/>
              <a:ext cx="13525" cy="13430"/>
            </a:xfrm>
            <a:custGeom>
              <a:avLst/>
              <a:gdLst>
                <a:gd name="connsiteX0" fmla="*/ 0 w 13525"/>
                <a:gd name="connsiteY0" fmla="*/ 0 h 13430"/>
                <a:gd name="connsiteX1" fmla="*/ 13526 w 13525"/>
                <a:gd name="connsiteY1" fmla="*/ 13430 h 13430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525" h="13430">
                  <a:moveTo>
                    <a:pt x="0" y="0"/>
                  </a:moveTo>
                  <a:lnTo>
                    <a:pt x="13526" y="13430"/>
                  </a:lnTo>
                </a:path>
              </a:pathLst>
            </a:custGeom>
            <a:ln w="12700" cap="rnd">
              <a:solidFill>
                <a:srgbClr val="015a6b"/>
              </a:solidFill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  <p:sp>
          <p:nvSpPr>
            <p:cNvPr id="23" name="Freeform: Shape 111"/>
            <p:cNvSpPr/>
            <p:nvPr/>
          </p:nvSpPr>
          <p:spPr>
            <a:xfrm>
              <a:off x="10927270" y="4361592"/>
              <a:ext cx="17621" cy="7239"/>
            </a:xfrm>
            <a:custGeom>
              <a:avLst/>
              <a:gdLst>
                <a:gd name="connsiteX0" fmla="*/ 0 w 17621"/>
                <a:gd name="connsiteY0" fmla="*/ 0 h 7239"/>
                <a:gd name="connsiteX1" fmla="*/ 17621 w 17621"/>
                <a:gd name="connsiteY1" fmla="*/ 7239 h 7239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621" h="7239">
                  <a:moveTo>
                    <a:pt x="0" y="0"/>
                  </a:moveTo>
                  <a:lnTo>
                    <a:pt x="17621" y="7239"/>
                  </a:lnTo>
                </a:path>
              </a:pathLst>
            </a:custGeom>
            <a:ln w="12700" cap="rnd">
              <a:solidFill>
                <a:srgbClr val="015a6b"/>
              </a:solidFill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  <p:sp>
          <p:nvSpPr>
            <p:cNvPr id="24" name="Freeform: Shape 112"/>
            <p:cNvSpPr/>
            <p:nvPr/>
          </p:nvSpPr>
          <p:spPr>
            <a:xfrm>
              <a:off x="10901362" y="4286630"/>
              <a:ext cx="219075" cy="152400"/>
            </a:xfrm>
            <a:custGeom>
              <a:avLst/>
              <a:gdLst>
                <a:gd name="connsiteX0" fmla="*/ 109538 w 219075"/>
                <a:gd name="connsiteY0" fmla="*/ 0 h 152400"/>
                <a:gd name="connsiteX1" fmla="*/ 0 w 219075"/>
                <a:gd name="connsiteY1" fmla="*/ 109538 h 152400"/>
                <a:gd name="connsiteX2" fmla="*/ 0 w 219075"/>
                <a:gd name="connsiteY2" fmla="*/ 152400 h 152400"/>
                <a:gd name="connsiteX3" fmla="*/ 219075 w 219075"/>
                <a:gd name="connsiteY3" fmla="*/ 152400 h 152400"/>
                <a:gd name="connsiteX4" fmla="*/ 219075 w 219075"/>
                <a:gd name="connsiteY4" fmla="*/ 109538 h 152400"/>
                <a:gd name="connsiteX5" fmla="*/ 109538 w 219075"/>
                <a:gd name="connsiteY5" fmla="*/ 0 h 152400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9075" h="152400">
                  <a:moveTo>
                    <a:pt x="109538" y="0"/>
                  </a:moveTo>
                  <a:cubicBezTo>
                    <a:pt x="49054" y="0"/>
                    <a:pt x="0" y="49054"/>
                    <a:pt x="0" y="109538"/>
                  </a:cubicBezTo>
                  <a:lnTo>
                    <a:pt x="0" y="152400"/>
                  </a:lnTo>
                  <a:lnTo>
                    <a:pt x="219075" y="152400"/>
                  </a:lnTo>
                  <a:lnTo>
                    <a:pt x="219075" y="109538"/>
                  </a:lnTo>
                  <a:cubicBezTo>
                    <a:pt x="219075" y="49054"/>
                    <a:pt x="170021" y="0"/>
                    <a:pt x="109538" y="0"/>
                  </a:cubicBezTo>
                  <a:close/>
                </a:path>
              </a:pathLst>
            </a:custGeom>
            <a:noFill/>
            <a:ln w="12700" cap="rnd">
              <a:solidFill>
                <a:srgbClr val="015a6b"/>
              </a:solidFill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</p:sld>
</file>

<file path=ppt/slides/slide18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9" descr="Diagram  Description automatically generated with medium confidence"/>
          <p:cNvPicPr>
            <a:picLocks noChangeAspect="1"/>
          </p:cNvPicPr>
          <p:nvPr/>
        </p:nvPicPr>
        <p:blipFill rotWithShape="1">
          <a:blip r:embed="rId2"/>
          <a:srcRect t="43630" b="23080"/>
          <a:stretch>
            <a:fillRect/>
          </a:stretch>
        </p:blipFill>
        <p:spPr>
          <a:xfrm>
            <a:off x="0" y="0"/>
            <a:ext cx="12191999" cy="2706206"/>
          </a:xfrm>
          <a:prstGeom prst="rect">
            <a:avLst/>
          </a:prstGeom>
        </p:spPr>
      </p:pic>
      <p:sp>
        <p:nvSpPr>
          <p:cNvPr id="5" name="Rectangle 18"/>
          <p:cNvSpPr/>
          <p:nvPr/>
        </p:nvSpPr>
        <p:spPr>
          <a:xfrm>
            <a:off x="0" y="0"/>
            <a:ext cx="12191999" cy="2706206"/>
          </a:xfrm>
          <a:prstGeom prst="rect">
            <a:avLst/>
          </a:prstGeom>
          <a:solidFill>
            <a:srgbClr val="016c81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 idx="0"/>
          </p:nvPr>
        </p:nvSpPr>
        <p:spPr>
          <a:xfrm>
            <a:off x="619125" y="365126"/>
            <a:ext cx="10953750" cy="745218"/>
          </a:xfrm>
        </p:spPr>
        <p:txBody>
          <a:bodyPr vert="horz" lIns="0" tIns="45720" rIns="0" bIns="45720" anchor="ctr">
            <a:normAutofit/>
          </a:bodyPr>
          <a:lstStyle/>
          <a:p>
            <a:pPr lvl="0">
              <a:defRPr/>
            </a:pPr>
            <a:r>
              <a:rPr lang="ko-KR" altLang="en-US" sz="2777"/>
              <a:t>제작에 따른 결론</a:t>
            </a:r>
            <a:br>
              <a:rPr lang="ko-KR" altLang="en-US" sz="2777"/>
            </a:br>
            <a:r>
              <a:rPr lang="en-US" altLang="ko-KR" sz="1500"/>
              <a:t>-</a:t>
            </a:r>
            <a:r>
              <a:rPr lang="ko-KR" altLang="en-US" sz="1500"/>
              <a:t> 제작 결과에 대한 분석</a:t>
            </a:r>
            <a:endParaRPr lang="ko-KR" altLang="en-US" sz="1500"/>
          </a:p>
        </p:txBody>
      </p:sp>
      <p:pic>
        <p:nvPicPr>
          <p:cNvPr id="7" name=""/>
          <p:cNvPicPr/>
          <p:nvPr/>
        </p:nvPicPr>
        <p:blipFill rotWithShape="1">
          <a:blip r:embed="rId3">
            <a:lum/>
          </a:blip>
          <a:srcRect/>
          <a:stretch>
            <a:fillRect/>
          </a:stretch>
        </p:blipFill>
        <p:spPr>
          <a:xfrm>
            <a:off x="3383300" y="3994006"/>
            <a:ext cx="5425399" cy="842818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</p:sld>
</file>

<file path=ppt/slides/slide19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34" descr="A picture containing text, person, computer  Description automatically generated"/>
          <p:cNvPicPr>
            <a:picLocks noChangeAspect="1"/>
          </p:cNvPicPr>
          <p:nvPr/>
        </p:nvPicPr>
        <p:blipFill rotWithShape="1">
          <a:blip r:embed="rId2">
            <a:alphaModFix amt="50000"/>
          </a:blip>
          <a:stretch>
            <a:fillRect/>
          </a:stretch>
        </p:blipFill>
        <p:spPr>
          <a:xfrm>
            <a:off x="7620000" y="0"/>
            <a:ext cx="4572000" cy="6858000"/>
          </a:xfrm>
          <a:prstGeom prst="rect">
            <a:avLst/>
          </a:prstGeom>
        </p:spPr>
      </p:pic>
      <p:sp>
        <p:nvSpPr>
          <p:cNvPr id="5" name="Rectangle 137"/>
          <p:cNvSpPr/>
          <p:nvPr/>
        </p:nvSpPr>
        <p:spPr>
          <a:xfrm>
            <a:off x="7619998" y="0"/>
            <a:ext cx="4572001" cy="6858000"/>
          </a:xfrm>
          <a:prstGeom prst="rect">
            <a:avLst/>
          </a:prstGeom>
          <a:solidFill>
            <a:srgbClr val="016c81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 idx="0"/>
          </p:nvPr>
        </p:nvSpPr>
        <p:spPr>
          <a:xfrm>
            <a:off x="619125" y="365126"/>
            <a:ext cx="10953750" cy="745218"/>
          </a:xfrm>
        </p:spPr>
        <p:txBody>
          <a:bodyPr vert="horz" lIns="0" tIns="45720" rIns="0" bIns="45720" anchor="ctr">
            <a:normAutofit/>
          </a:bodyPr>
          <a:lstStyle/>
          <a:p>
            <a:pPr lvl="0">
              <a:defRPr/>
            </a:pPr>
            <a:r>
              <a:rPr lang="ko-KR" altLang="en-US" sz="2777"/>
              <a:t>변경에 따른 구현 계획</a:t>
            </a:r>
            <a:br>
              <a:rPr lang="ko-KR" altLang="en-US" sz="2777"/>
            </a:br>
            <a:r>
              <a:rPr lang="en-US" altLang="ko-KR" sz="1500"/>
              <a:t>-</a:t>
            </a:r>
            <a:r>
              <a:rPr lang="ko-KR" altLang="en-US" sz="1500"/>
              <a:t> 메모리 사용량 최적화</a:t>
            </a:r>
            <a:endParaRPr lang="ko-KR" altLang="en-US" sz="1500"/>
          </a:p>
        </p:txBody>
      </p:sp>
      <p:grpSp>
        <p:nvGrpSpPr>
          <p:cNvPr id="24" name="Group 47"/>
          <p:cNvGrpSpPr/>
          <p:nvPr/>
        </p:nvGrpSpPr>
        <p:grpSpPr>
          <a:xfrm rot="0">
            <a:off x="2683234" y="2863573"/>
            <a:ext cx="1743076" cy="1966690"/>
            <a:chOff x="723898" y="1892300"/>
            <a:chExt cx="1743076" cy="1966690"/>
          </a:xfrm>
        </p:grpSpPr>
        <p:sp>
          <p:nvSpPr>
            <p:cNvPr id="25" name="Rectangle 49"/>
            <p:cNvSpPr/>
            <p:nvPr/>
          </p:nvSpPr>
          <p:spPr>
            <a:xfrm>
              <a:off x="723899" y="2400229"/>
              <a:ext cx="1743075" cy="145876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ID"/>
            </a:p>
          </p:txBody>
        </p:sp>
        <p:sp>
          <p:nvSpPr>
            <p:cNvPr id="26" name="Rectangle 50"/>
            <p:cNvSpPr/>
            <p:nvPr/>
          </p:nvSpPr>
          <p:spPr>
            <a:xfrm>
              <a:off x="723898" y="1892300"/>
              <a:ext cx="1743075" cy="507929"/>
            </a:xfrm>
            <a:prstGeom prst="rect">
              <a:avLst/>
            </a:prstGeom>
            <a:solidFill>
              <a:srgbClr val="016c8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altLang="ko-KR" sz="2000">
                  <a:latin typeface="Segoe UI Light"/>
                  <a:cs typeface="Segoe UI Light"/>
                </a:rPr>
                <a:t>buffer</a:t>
              </a:r>
              <a:endParaRPr lang="en-US" altLang="ko-KR" sz="2000">
                <a:latin typeface="Segoe UI Light"/>
                <a:cs typeface="Segoe UI Light"/>
              </a:endParaRPr>
            </a:p>
          </p:txBody>
        </p:sp>
        <p:sp>
          <p:nvSpPr>
            <p:cNvPr id="27" name="Rectangle 51"/>
            <p:cNvSpPr/>
            <p:nvPr/>
          </p:nvSpPr>
          <p:spPr>
            <a:xfrm>
              <a:off x="827372" y="3029226"/>
              <a:ext cx="1533529" cy="155365"/>
            </a:xfrm>
            <a:prstGeom prst="rect">
              <a:avLst/>
            </a:prstGeom>
          </p:spPr>
          <p:txBody>
            <a:bodyPr wrap="square" lIns="0" tIns="0" rIns="0" bIns="0" anchor="b" anchorCtr="0">
              <a:spAutoFit/>
            </a:bodyPr>
            <a:lstStyle/>
            <a:p>
              <a:pPr algn="ctr">
                <a:spcAft>
                  <a:spcPts val="600"/>
                </a:spcAft>
                <a:defRPr/>
              </a:pPr>
              <a:r>
                <a:rPr lang="en-ID" sz="1000" b="1">
                  <a:latin typeface="Segoe UI"/>
                  <a:ea typeface="함초롬바탕"/>
                  <a:cs typeface="Segoe UI"/>
                </a:rPr>
                <a:t>ObjectIn/OutputStream</a:t>
              </a:r>
              <a:endParaRPr lang="en-ID" sz="1000" b="1">
                <a:latin typeface="Segoe UI"/>
                <a:ea typeface="함초롬바탕"/>
                <a:cs typeface="Segoe UI"/>
              </a:endParaRPr>
            </a:p>
          </p:txBody>
        </p:sp>
      </p:grpSp>
      <p:grpSp>
        <p:nvGrpSpPr>
          <p:cNvPr id="28" name="Graphic 8"/>
          <p:cNvGrpSpPr/>
          <p:nvPr/>
        </p:nvGrpSpPr>
        <p:grpSpPr>
          <a:xfrm rot="0">
            <a:off x="3412818" y="2234886"/>
            <a:ext cx="283908" cy="384108"/>
            <a:chOff x="9101137" y="5010530"/>
            <a:chExt cx="161925" cy="219075"/>
          </a:xfrm>
          <a:noFill/>
        </p:grpSpPr>
        <p:sp>
          <p:nvSpPr>
            <p:cNvPr id="29" name="Freeform: Shape 126"/>
            <p:cNvSpPr/>
            <p:nvPr/>
          </p:nvSpPr>
          <p:spPr>
            <a:xfrm>
              <a:off x="9101137" y="5086730"/>
              <a:ext cx="161925" cy="142875"/>
            </a:xfrm>
            <a:custGeom>
              <a:avLst/>
              <a:gdLst>
                <a:gd name="connsiteX0" fmla="*/ 161925 w 161925"/>
                <a:gd name="connsiteY0" fmla="*/ 0 h 142875"/>
                <a:gd name="connsiteX1" fmla="*/ 0 w 161925"/>
                <a:gd name="connsiteY1" fmla="*/ 0 h 142875"/>
                <a:gd name="connsiteX2" fmla="*/ 0 w 161925"/>
                <a:gd name="connsiteY2" fmla="*/ 142875 h 142875"/>
                <a:gd name="connsiteX3" fmla="*/ 104775 w 161925"/>
                <a:gd name="connsiteY3" fmla="*/ 142875 h 142875"/>
                <a:gd name="connsiteX4" fmla="*/ 161925 w 161925"/>
                <a:gd name="connsiteY4" fmla="*/ 85725 h 142875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925" h="142875">
                  <a:moveTo>
                    <a:pt x="161925" y="0"/>
                  </a:moveTo>
                  <a:lnTo>
                    <a:pt x="0" y="0"/>
                  </a:lnTo>
                  <a:lnTo>
                    <a:pt x="0" y="142875"/>
                  </a:lnTo>
                  <a:lnTo>
                    <a:pt x="104775" y="142875"/>
                  </a:lnTo>
                  <a:lnTo>
                    <a:pt x="161925" y="85725"/>
                  </a:lnTo>
                  <a:close/>
                </a:path>
              </a:pathLst>
            </a:custGeom>
            <a:noFill/>
            <a:ln w="12700" cap="rnd">
              <a:solidFill>
                <a:srgbClr val="015a6b"/>
              </a:solidFill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  <p:sp>
          <p:nvSpPr>
            <p:cNvPr id="30" name="Freeform: Shape 127"/>
            <p:cNvSpPr/>
            <p:nvPr/>
          </p:nvSpPr>
          <p:spPr>
            <a:xfrm>
              <a:off x="9205912" y="5172455"/>
              <a:ext cx="57150" cy="57150"/>
            </a:xfrm>
            <a:custGeom>
              <a:avLst/>
              <a:gdLst>
                <a:gd name="connsiteX0" fmla="*/ 0 w 57150"/>
                <a:gd name="connsiteY0" fmla="*/ 57150 h 57150"/>
                <a:gd name="connsiteX1" fmla="*/ 0 w 57150"/>
                <a:gd name="connsiteY1" fmla="*/ 0 h 57150"/>
                <a:gd name="connsiteX2" fmla="*/ 57150 w 57150"/>
                <a:gd name="connsiteY2" fmla="*/ 0 h 57150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150" h="57150">
                  <a:moveTo>
                    <a:pt x="0" y="57150"/>
                  </a:moveTo>
                  <a:lnTo>
                    <a:pt x="0" y="0"/>
                  </a:lnTo>
                  <a:lnTo>
                    <a:pt x="57150" y="0"/>
                  </a:lnTo>
                </a:path>
              </a:pathLst>
            </a:custGeom>
            <a:noFill/>
            <a:ln w="12700" cap="rnd">
              <a:solidFill>
                <a:srgbClr val="015a6b"/>
              </a:solidFill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  <p:sp>
          <p:nvSpPr>
            <p:cNvPr id="31" name="Freeform: Shape 128"/>
            <p:cNvSpPr/>
            <p:nvPr/>
          </p:nvSpPr>
          <p:spPr>
            <a:xfrm>
              <a:off x="9148762" y="5010530"/>
              <a:ext cx="57150" cy="57150"/>
            </a:xfrm>
            <a:custGeom>
              <a:avLst/>
              <a:gdLst>
                <a:gd name="connsiteX0" fmla="*/ 57150 w 57150"/>
                <a:gd name="connsiteY0" fmla="*/ 28575 h 57150"/>
                <a:gd name="connsiteX1" fmla="*/ 28575 w 57150"/>
                <a:gd name="connsiteY1" fmla="*/ 57150 h 57150"/>
                <a:gd name="connsiteX2" fmla="*/ 0 w 57150"/>
                <a:gd name="connsiteY2" fmla="*/ 28575 h 57150"/>
                <a:gd name="connsiteX3" fmla="*/ 28575 w 57150"/>
                <a:gd name="connsiteY3" fmla="*/ 0 h 57150"/>
                <a:gd name="connsiteX4" fmla="*/ 57150 w 57150"/>
                <a:gd name="connsiteY4" fmla="*/ 28575 h 57150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57150">
                  <a:moveTo>
                    <a:pt x="57150" y="28575"/>
                  </a:moveTo>
                  <a:cubicBezTo>
                    <a:pt x="57150" y="44357"/>
                    <a:pt x="44357" y="57150"/>
                    <a:pt x="28575" y="57150"/>
                  </a:cubicBezTo>
                  <a:cubicBezTo>
                    <a:pt x="12793" y="57150"/>
                    <a:pt x="0" y="44357"/>
                    <a:pt x="0" y="28575"/>
                  </a:cubicBezTo>
                  <a:cubicBezTo>
                    <a:pt x="0" y="12793"/>
                    <a:pt x="12793" y="0"/>
                    <a:pt x="28575" y="0"/>
                  </a:cubicBezTo>
                  <a:cubicBezTo>
                    <a:pt x="44357" y="0"/>
                    <a:pt x="57150" y="12793"/>
                    <a:pt x="57150" y="28575"/>
                  </a:cubicBezTo>
                  <a:close/>
                </a:path>
              </a:pathLst>
            </a:custGeom>
            <a:noFill/>
            <a:ln w="12700" cap="rnd">
              <a:solidFill>
                <a:srgbClr val="015a6b"/>
              </a:solidFill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  <p:sp>
          <p:nvSpPr>
            <p:cNvPr id="32" name="Freeform: Shape 129"/>
            <p:cNvSpPr/>
            <p:nvPr/>
          </p:nvSpPr>
          <p:spPr>
            <a:xfrm>
              <a:off x="9177337" y="5067680"/>
              <a:ext cx="9525" cy="28575"/>
            </a:xfrm>
            <a:custGeom>
              <a:avLst/>
              <a:gdLst>
                <a:gd name="connsiteX0" fmla="*/ 0 w 9525"/>
                <a:gd name="connsiteY0" fmla="*/ 0 h 28575"/>
                <a:gd name="connsiteX1" fmla="*/ 0 w 9525"/>
                <a:gd name="connsiteY1" fmla="*/ 28575 h 28575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28575">
                  <a:moveTo>
                    <a:pt x="0" y="0"/>
                  </a:moveTo>
                  <a:lnTo>
                    <a:pt x="0" y="28575"/>
                  </a:lnTo>
                </a:path>
              </a:pathLst>
            </a:custGeom>
            <a:ln w="12700" cap="rnd">
              <a:solidFill>
                <a:srgbClr val="015a6b"/>
              </a:solidFill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  <p:sp>
          <p:nvSpPr>
            <p:cNvPr id="33" name="Freeform: Shape 130"/>
            <p:cNvSpPr/>
            <p:nvPr/>
          </p:nvSpPr>
          <p:spPr>
            <a:xfrm>
              <a:off x="9177337" y="5029580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9525 w 9525"/>
                <a:gd name="connsiteY1" fmla="*/ 9525 h 9525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cubicBezTo>
                    <a:pt x="5239" y="0"/>
                    <a:pt x="9525" y="4286"/>
                    <a:pt x="9525" y="9525"/>
                  </a:cubicBezTo>
                </a:path>
              </a:pathLst>
            </a:custGeom>
            <a:noFill/>
            <a:ln w="12700" cap="rnd">
              <a:solidFill>
                <a:srgbClr val="015a6b"/>
              </a:solidFill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  <p:sp>
          <p:nvSpPr>
            <p:cNvPr id="34" name="Freeform: Shape 131"/>
            <p:cNvSpPr/>
            <p:nvPr/>
          </p:nvSpPr>
          <p:spPr>
            <a:xfrm>
              <a:off x="9134475" y="5124830"/>
              <a:ext cx="76200" cy="9525"/>
            </a:xfrm>
            <a:custGeom>
              <a:avLst/>
              <a:gdLst>
                <a:gd name="connsiteX0" fmla="*/ 0 w 76200"/>
                <a:gd name="connsiteY0" fmla="*/ 0 h 9525"/>
                <a:gd name="connsiteX1" fmla="*/ 76200 w 76200"/>
                <a:gd name="connsiteY1" fmla="*/ 0 h 9525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6200" h="9525">
                  <a:moveTo>
                    <a:pt x="0" y="0"/>
                  </a:moveTo>
                  <a:lnTo>
                    <a:pt x="76200" y="0"/>
                  </a:lnTo>
                </a:path>
              </a:pathLst>
            </a:custGeom>
            <a:ln w="12700" cap="rnd">
              <a:solidFill>
                <a:srgbClr val="015a6b"/>
              </a:solidFill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  <p:sp>
          <p:nvSpPr>
            <p:cNvPr id="35" name="Freeform: Shape 132"/>
            <p:cNvSpPr/>
            <p:nvPr/>
          </p:nvSpPr>
          <p:spPr>
            <a:xfrm>
              <a:off x="9134475" y="5153405"/>
              <a:ext cx="76200" cy="9525"/>
            </a:xfrm>
            <a:custGeom>
              <a:avLst/>
              <a:gdLst>
                <a:gd name="connsiteX0" fmla="*/ 0 w 76200"/>
                <a:gd name="connsiteY0" fmla="*/ 0 h 9525"/>
                <a:gd name="connsiteX1" fmla="*/ 76200 w 76200"/>
                <a:gd name="connsiteY1" fmla="*/ 0 h 9525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6200" h="9525">
                  <a:moveTo>
                    <a:pt x="0" y="0"/>
                  </a:moveTo>
                  <a:lnTo>
                    <a:pt x="76200" y="0"/>
                  </a:lnTo>
                </a:path>
              </a:pathLst>
            </a:custGeom>
            <a:ln w="12700" cap="rnd">
              <a:solidFill>
                <a:srgbClr val="015a6b"/>
              </a:solidFill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  <p:sp>
          <p:nvSpPr>
            <p:cNvPr id="36" name="Freeform: Shape 133"/>
            <p:cNvSpPr/>
            <p:nvPr/>
          </p:nvSpPr>
          <p:spPr>
            <a:xfrm>
              <a:off x="9134475" y="5181980"/>
              <a:ext cx="47625" cy="9525"/>
            </a:xfrm>
            <a:custGeom>
              <a:avLst/>
              <a:gdLst>
                <a:gd name="connsiteX0" fmla="*/ 0 w 47625"/>
                <a:gd name="connsiteY0" fmla="*/ 0 h 9525"/>
                <a:gd name="connsiteX1" fmla="*/ 47625 w 47625"/>
                <a:gd name="connsiteY1" fmla="*/ 0 h 9525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5" h="9525">
                  <a:moveTo>
                    <a:pt x="0" y="0"/>
                  </a:moveTo>
                  <a:lnTo>
                    <a:pt x="47625" y="0"/>
                  </a:lnTo>
                </a:path>
              </a:pathLst>
            </a:custGeom>
            <a:ln w="12700" cap="rnd">
              <a:solidFill>
                <a:srgbClr val="015a6b"/>
              </a:solidFill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</p:sld>
</file>

<file path=ppt/slides/slide2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A picture containing text  Description automatically generated"/>
          <p:cNvPicPr>
            <a:picLocks noChangeAspect="1"/>
          </p:cNvPicPr>
          <p:nvPr/>
        </p:nvPicPr>
        <p:blipFill rotWithShape="1">
          <a:blip r:embed="rId3"/>
          <a:srcRect/>
          <a:stretch>
            <a:fillRect/>
          </a:stretch>
        </p:blipFill>
        <p:spPr>
          <a:xfrm>
            <a:off x="619118" y="3440790"/>
            <a:ext cx="10967636" cy="54864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idx="0"/>
          </p:nvPr>
        </p:nvSpPr>
        <p:spPr/>
        <p:txBody>
          <a:bodyPr vert="horz"/>
          <a:lstStyle/>
          <a:p>
            <a:pPr lvl="0">
              <a:defRPr/>
            </a:pPr>
            <a:r>
              <a:rPr lang="en-US" altLang="ko-KR"/>
              <a:t>CONTENT</a:t>
            </a:r>
            <a:endParaRPr lang="en-US" altLang="ko-KR"/>
          </a:p>
        </p:txBody>
      </p:sp>
      <p:sp>
        <p:nvSpPr>
          <p:cNvPr id="15" name="Rectangle 14"/>
          <p:cNvSpPr/>
          <p:nvPr/>
        </p:nvSpPr>
        <p:spPr>
          <a:xfrm>
            <a:off x="619125" y="3440791"/>
            <a:ext cx="2190743" cy="548640"/>
          </a:xfrm>
          <a:prstGeom prst="rect">
            <a:avLst/>
          </a:prstGeom>
          <a:solidFill>
            <a:srgbClr val="015a6b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ko-KR" altLang="en-US" sz="1600" b="1">
                <a:solidFill>
                  <a:schemeClr val="bg1"/>
                </a:solidFill>
                <a:latin typeface="Segoe UI"/>
                <a:cs typeface="Segoe UI"/>
              </a:rPr>
              <a:t>제작 요약</a:t>
            </a:r>
            <a:endParaRPr lang="ko-KR" altLang="en-US" sz="16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2812597" y="3440791"/>
            <a:ext cx="2190743" cy="548640"/>
          </a:xfrm>
          <a:prstGeom prst="rect">
            <a:avLst/>
          </a:prstGeom>
          <a:solidFill>
            <a:srgbClr val="013641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ko-KR" altLang="en-US" sz="1600" b="1">
                <a:solidFill>
                  <a:schemeClr val="bg1"/>
                </a:solidFill>
                <a:latin typeface="Segoe UI"/>
                <a:cs typeface="Segoe UI"/>
              </a:rPr>
              <a:t>제작 내용</a:t>
            </a:r>
            <a:endParaRPr lang="ko-KR" altLang="en-US" sz="16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5006069" y="3440791"/>
            <a:ext cx="2190743" cy="548640"/>
          </a:xfrm>
          <a:prstGeom prst="rect">
            <a:avLst/>
          </a:prstGeom>
          <a:solidFill>
            <a:srgbClr val="015a6b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ko-KR" altLang="en-US" sz="1600" b="1">
                <a:solidFill>
                  <a:schemeClr val="bg1"/>
                </a:solidFill>
                <a:latin typeface="Segoe UI"/>
                <a:cs typeface="Segoe UI"/>
              </a:rPr>
              <a:t>제작에 따른 결론</a:t>
            </a:r>
            <a:endParaRPr lang="ko-KR" altLang="en-US" sz="16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7199541" y="3440791"/>
            <a:ext cx="2190743" cy="548640"/>
          </a:xfrm>
          <a:prstGeom prst="rect">
            <a:avLst/>
          </a:prstGeom>
          <a:solidFill>
            <a:srgbClr val="013641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ko-KR" altLang="en-US" sz="1600" b="1">
                <a:solidFill>
                  <a:schemeClr val="bg1"/>
                </a:solidFill>
                <a:latin typeface="Segoe UI"/>
                <a:cs typeface="Segoe UI"/>
              </a:rPr>
              <a:t>변경에 따른 구현 계획</a:t>
            </a:r>
            <a:endParaRPr lang="ko-KR" altLang="en-US" sz="16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9393013" y="3440791"/>
            <a:ext cx="2190743" cy="548640"/>
          </a:xfrm>
          <a:prstGeom prst="rect">
            <a:avLst/>
          </a:prstGeom>
          <a:solidFill>
            <a:srgbClr val="015a6b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ko-KR" sz="1600" b="1">
                <a:solidFill>
                  <a:schemeClr val="bg1"/>
                </a:solidFill>
                <a:latin typeface="Segoe UI"/>
                <a:cs typeface="Segoe UI"/>
              </a:rPr>
              <a:t>Q &amp; A</a:t>
            </a:r>
            <a:endParaRPr lang="en-US" altLang="ko-KR" sz="16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25" name="Rectangle 24"/>
          <p:cNvSpPr/>
          <p:nvPr/>
        </p:nvSpPr>
        <p:spPr>
          <a:xfrm rot="2664262">
            <a:off x="1648830" y="3923761"/>
            <a:ext cx="131341" cy="131341"/>
          </a:xfrm>
          <a:prstGeom prst="rect">
            <a:avLst/>
          </a:prstGeom>
          <a:solidFill>
            <a:srgbClr val="015a6b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6" name="Rectangle 25"/>
          <p:cNvSpPr/>
          <p:nvPr/>
        </p:nvSpPr>
        <p:spPr>
          <a:xfrm rot="2664262">
            <a:off x="6030332" y="3923761"/>
            <a:ext cx="131341" cy="131341"/>
          </a:xfrm>
          <a:prstGeom prst="rect">
            <a:avLst/>
          </a:prstGeom>
          <a:solidFill>
            <a:srgbClr val="015a6b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29" name="Straight Connector 28"/>
          <p:cNvCxnSpPr/>
          <p:nvPr/>
        </p:nvCxnSpPr>
        <p:spPr>
          <a:xfrm>
            <a:off x="1714498" y="4001042"/>
            <a:ext cx="0" cy="663575"/>
          </a:xfrm>
          <a:prstGeom prst="line">
            <a:avLst/>
          </a:prstGeom>
          <a:ln w="12700">
            <a:solidFill>
              <a:srgbClr val="015a6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>
            <a:off x="6096000" y="4001042"/>
            <a:ext cx="0" cy="663575"/>
          </a:xfrm>
          <a:prstGeom prst="line">
            <a:avLst/>
          </a:prstGeom>
          <a:ln w="12700">
            <a:solidFill>
              <a:srgbClr val="015a6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/>
          <p:cNvSpPr/>
          <p:nvPr/>
        </p:nvSpPr>
        <p:spPr>
          <a:xfrm rot="2664262">
            <a:off x="3842298" y="3380836"/>
            <a:ext cx="131341" cy="131341"/>
          </a:xfrm>
          <a:prstGeom prst="rect">
            <a:avLst/>
          </a:prstGeom>
          <a:solidFill>
            <a:srgbClr val="01364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4" name="Rectangle 33"/>
          <p:cNvSpPr/>
          <p:nvPr/>
        </p:nvSpPr>
        <p:spPr>
          <a:xfrm rot="2664262">
            <a:off x="8229242" y="3380835"/>
            <a:ext cx="131341" cy="131341"/>
          </a:xfrm>
          <a:prstGeom prst="rect">
            <a:avLst/>
          </a:prstGeom>
          <a:solidFill>
            <a:srgbClr val="01364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5" name="Rectangle 34"/>
          <p:cNvSpPr/>
          <p:nvPr/>
        </p:nvSpPr>
        <p:spPr>
          <a:xfrm rot="2664262">
            <a:off x="3681256" y="2397665"/>
            <a:ext cx="453423" cy="453423"/>
          </a:xfrm>
          <a:prstGeom prst="rect">
            <a:avLst/>
          </a:prstGeom>
          <a:solidFill>
            <a:srgbClr val="0136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6" name="Rectangle 35"/>
          <p:cNvSpPr/>
          <p:nvPr/>
        </p:nvSpPr>
        <p:spPr>
          <a:xfrm rot="2664262">
            <a:off x="8060038" y="2397665"/>
            <a:ext cx="453423" cy="453423"/>
          </a:xfrm>
          <a:prstGeom prst="rect">
            <a:avLst/>
          </a:prstGeom>
          <a:solidFill>
            <a:srgbClr val="0136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37" name="Straight Connector 36"/>
          <p:cNvCxnSpPr/>
          <p:nvPr/>
        </p:nvCxnSpPr>
        <p:spPr>
          <a:xfrm>
            <a:off x="3907968" y="2819942"/>
            <a:ext cx="0" cy="663575"/>
          </a:xfrm>
          <a:prstGeom prst="line">
            <a:avLst/>
          </a:prstGeom>
          <a:ln w="12700">
            <a:solidFill>
              <a:srgbClr val="0136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>
            <a:off x="8294912" y="2819942"/>
            <a:ext cx="0" cy="663575"/>
          </a:xfrm>
          <a:prstGeom prst="line">
            <a:avLst/>
          </a:prstGeom>
          <a:ln w="12700">
            <a:solidFill>
              <a:srgbClr val="0136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 38"/>
          <p:cNvSpPr/>
          <p:nvPr/>
        </p:nvSpPr>
        <p:spPr>
          <a:xfrm>
            <a:off x="1168366" y="5298507"/>
            <a:ext cx="1168349" cy="35934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lvl="0">
              <a:defRPr/>
            </a:pPr>
            <a:r>
              <a:rPr lang="en-US" altLang="ko-KR" sz="1200">
                <a:latin typeface="Segoe UI Light"/>
              </a:rPr>
              <a:t>* </a:t>
            </a:r>
            <a:r>
              <a:rPr lang="ko-KR" altLang="en-US" sz="1200">
                <a:latin typeface="Segoe UI Light"/>
              </a:rPr>
              <a:t>제작의 목적</a:t>
            </a:r>
            <a:endParaRPr lang="ko-KR" altLang="en-US" sz="1200">
              <a:latin typeface="Segoe UI Light"/>
            </a:endParaRPr>
          </a:p>
          <a:p>
            <a:pPr lvl="0">
              <a:defRPr/>
            </a:pPr>
            <a:r>
              <a:rPr lang="en-US" altLang="ko-KR" sz="1200">
                <a:latin typeface="Segoe UI Light"/>
              </a:rPr>
              <a:t>*</a:t>
            </a:r>
            <a:r>
              <a:rPr lang="ko-KR" altLang="en-US" sz="1200">
                <a:latin typeface="Segoe UI Light"/>
              </a:rPr>
              <a:t> 절차 및 결과</a:t>
            </a:r>
            <a:endParaRPr lang="ko-KR" altLang="en-US" sz="1200">
              <a:latin typeface="Segoe UI Light"/>
            </a:endParaRPr>
          </a:p>
        </p:txBody>
      </p:sp>
      <p:sp>
        <p:nvSpPr>
          <p:cNvPr id="22" name="Rectangle 21"/>
          <p:cNvSpPr/>
          <p:nvPr/>
        </p:nvSpPr>
        <p:spPr>
          <a:xfrm rot="2664262">
            <a:off x="1487787" y="4579133"/>
            <a:ext cx="453423" cy="453423"/>
          </a:xfrm>
          <a:prstGeom prst="rect">
            <a:avLst/>
          </a:prstGeom>
          <a:solidFill>
            <a:srgbClr val="015a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3" name="Rectangle 22"/>
          <p:cNvSpPr/>
          <p:nvPr/>
        </p:nvSpPr>
        <p:spPr>
          <a:xfrm rot="2664262">
            <a:off x="5869289" y="4579133"/>
            <a:ext cx="453423" cy="453423"/>
          </a:xfrm>
          <a:prstGeom prst="rect">
            <a:avLst/>
          </a:prstGeom>
          <a:solidFill>
            <a:srgbClr val="015a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40" name="Rectangle 39"/>
          <p:cNvSpPr/>
          <p:nvPr/>
        </p:nvSpPr>
        <p:spPr>
          <a:xfrm>
            <a:off x="5286369" y="5266491"/>
            <a:ext cx="2176878" cy="17228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lvl="0">
              <a:defRPr/>
            </a:pPr>
            <a:r>
              <a:rPr lang="en-US" altLang="ko-KR" sz="1200">
                <a:latin typeface="Segoe UI Light"/>
              </a:rPr>
              <a:t>*</a:t>
            </a:r>
            <a:r>
              <a:rPr lang="ko-KR" altLang="en-US" sz="1200">
                <a:latin typeface="Segoe UI Light"/>
              </a:rPr>
              <a:t> 제작 결과에 대한 분석</a:t>
            </a:r>
            <a:endParaRPr lang="ko-KR" altLang="en-US" sz="1200">
              <a:latin typeface="Segoe UI Light"/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3033427" y="1609725"/>
            <a:ext cx="1624588" cy="55400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lvl="0">
              <a:defRPr/>
            </a:pPr>
            <a:r>
              <a:rPr lang="en-US" altLang="ko-KR" sz="1200">
                <a:latin typeface="Segoe UI Light"/>
              </a:rPr>
              <a:t>*</a:t>
            </a:r>
            <a:r>
              <a:rPr lang="ko-KR" altLang="en-US" sz="1200">
                <a:latin typeface="Segoe UI Light"/>
              </a:rPr>
              <a:t> 제작을 수행한 제작자</a:t>
            </a:r>
            <a:endParaRPr lang="ko-KR" altLang="en-US" sz="1200">
              <a:latin typeface="Segoe UI Light"/>
            </a:endParaRPr>
          </a:p>
          <a:p>
            <a:pPr lvl="0">
              <a:defRPr/>
            </a:pPr>
            <a:r>
              <a:rPr lang="en-US" altLang="ko-KR" sz="1200">
                <a:latin typeface="Segoe UI Light"/>
              </a:rPr>
              <a:t>*</a:t>
            </a:r>
            <a:r>
              <a:rPr lang="ko-KR" altLang="en-US" sz="1200">
                <a:latin typeface="Segoe UI Light"/>
              </a:rPr>
              <a:t> 제작 기준</a:t>
            </a:r>
            <a:endParaRPr lang="ko-KR" altLang="en-US" sz="1200">
              <a:latin typeface="Segoe UI Light"/>
            </a:endParaRPr>
          </a:p>
          <a:p>
            <a:pPr lvl="0">
              <a:defRPr/>
            </a:pPr>
            <a:r>
              <a:rPr lang="en-US" altLang="ko-KR" sz="1200">
                <a:latin typeface="Segoe UI Light"/>
              </a:rPr>
              <a:t>*</a:t>
            </a:r>
            <a:r>
              <a:rPr lang="ko-KR" altLang="en-US" sz="1200">
                <a:latin typeface="Segoe UI Light"/>
              </a:rPr>
              <a:t> 방법 및 결과</a:t>
            </a:r>
            <a:endParaRPr lang="ko-KR" altLang="en-US" sz="1200">
              <a:latin typeface="Segoe UI Light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7378028" y="1776212"/>
            <a:ext cx="2176878" cy="36350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lvl="0">
              <a:defRPr/>
            </a:pPr>
            <a:r>
              <a:rPr lang="en-US" altLang="ko-KR" sz="1200">
                <a:latin typeface="Segoe UI Light"/>
              </a:rPr>
              <a:t>*</a:t>
            </a:r>
            <a:r>
              <a:rPr lang="ko-KR" altLang="en-US" sz="1200">
                <a:latin typeface="Segoe UI Light"/>
              </a:rPr>
              <a:t> 사전 방식 알고리즘 도입</a:t>
            </a:r>
            <a:endParaRPr lang="ko-KR" altLang="en-US" sz="1200">
              <a:latin typeface="Segoe UI Light"/>
            </a:endParaRPr>
          </a:p>
          <a:p>
            <a:pPr lvl="0">
              <a:defRPr/>
            </a:pPr>
            <a:r>
              <a:rPr lang="en-US" altLang="ko-KR" sz="1200">
                <a:latin typeface="Segoe UI Light"/>
              </a:rPr>
              <a:t>*</a:t>
            </a:r>
            <a:r>
              <a:rPr lang="ko-KR" altLang="en-US" sz="1200">
                <a:latin typeface="Segoe UI Light"/>
              </a:rPr>
              <a:t> 메모리 사용량 최적화</a:t>
            </a:r>
            <a:endParaRPr lang="ko-KR" altLang="en-US" sz="1200">
              <a:latin typeface="Segoe UI Light"/>
            </a:endParaRPr>
          </a:p>
        </p:txBody>
      </p:sp>
      <p:grpSp>
        <p:nvGrpSpPr>
          <p:cNvPr id="44" name="Group 43"/>
          <p:cNvGrpSpPr/>
          <p:nvPr/>
        </p:nvGrpSpPr>
        <p:grpSpPr>
          <a:xfrm rot="0">
            <a:off x="1584492" y="4732492"/>
            <a:ext cx="260012" cy="146705"/>
            <a:chOff x="4119563" y="4054475"/>
            <a:chExt cx="346075" cy="195263"/>
          </a:xfrm>
        </p:grpSpPr>
        <p:sp>
          <p:nvSpPr>
            <p:cNvPr id="45" name="Oval 146"/>
            <p:cNvSpPr>
              <a:spLocks noChangeArrowheads="1"/>
            </p:cNvSpPr>
            <p:nvPr/>
          </p:nvSpPr>
          <p:spPr>
            <a:xfrm>
              <a:off x="4119563" y="4054475"/>
              <a:ext cx="346075" cy="195263"/>
            </a:xfrm>
            <a:prstGeom prst="ellips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id-ID"/>
            </a:p>
          </p:txBody>
        </p:sp>
        <p:sp>
          <p:nvSpPr>
            <p:cNvPr id="46" name="Oval 147"/>
            <p:cNvSpPr>
              <a:spLocks noChangeArrowheads="1"/>
            </p:cNvSpPr>
            <p:nvPr/>
          </p:nvSpPr>
          <p:spPr>
            <a:xfrm>
              <a:off x="4232276" y="4090988"/>
              <a:ext cx="120650" cy="120650"/>
            </a:xfrm>
            <a:prstGeom prst="ellips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id-ID"/>
            </a:p>
          </p:txBody>
        </p:sp>
        <p:sp>
          <p:nvSpPr>
            <p:cNvPr id="47" name="Freeform 148"/>
            <p:cNvSpPr/>
            <p:nvPr/>
          </p:nvSpPr>
          <p:spPr>
            <a:xfrm>
              <a:off x="4262438" y="4121150"/>
              <a:ext cx="60325" cy="60325"/>
            </a:xfrm>
            <a:custGeom>
              <a:avLst/>
              <a:gdLst>
                <a:gd name="T0" fmla="*/ 8 w 16"/>
                <a:gd name="T1" fmla="*/ 0 h 16"/>
                <a:gd name="T2" fmla="*/ 16 w 16"/>
                <a:gd name="T3" fmla="*/ 8 h 16"/>
                <a:gd name="T4" fmla="*/ 8 w 16"/>
                <a:gd name="T5" fmla="*/ 16 h 16"/>
                <a:gd name="T6" fmla="*/ 0 w 16"/>
                <a:gd name="T7" fmla="*/ 8 h 16"/>
              </a:gdLst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6">
                  <a:moveTo>
                    <a:pt x="8" y="0"/>
                  </a:moveTo>
                  <a:cubicBezTo>
                    <a:pt x="12" y="0"/>
                    <a:pt x="16" y="4"/>
                    <a:pt x="16" y="8"/>
                  </a:cubicBezTo>
                  <a:cubicBezTo>
                    <a:pt x="16" y="12"/>
                    <a:pt x="12" y="16"/>
                    <a:pt x="8" y="16"/>
                  </a:cubicBezTo>
                  <a:cubicBezTo>
                    <a:pt x="4" y="16"/>
                    <a:pt x="0" y="12"/>
                    <a:pt x="0" y="8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id-ID"/>
            </a:p>
          </p:txBody>
        </p:sp>
      </p:grpSp>
      <p:grpSp>
        <p:nvGrpSpPr>
          <p:cNvPr id="48" name="Group 47"/>
          <p:cNvGrpSpPr/>
          <p:nvPr/>
        </p:nvGrpSpPr>
        <p:grpSpPr>
          <a:xfrm rot="0">
            <a:off x="3777961" y="2494370"/>
            <a:ext cx="260013" cy="260012"/>
            <a:chOff x="5562600" y="3979863"/>
            <a:chExt cx="346076" cy="346075"/>
          </a:xfrm>
        </p:grpSpPr>
        <p:sp>
          <p:nvSpPr>
            <p:cNvPr id="49" name="Oval 48"/>
            <p:cNvSpPr>
              <a:spLocks noChangeArrowheads="1"/>
            </p:cNvSpPr>
            <p:nvPr/>
          </p:nvSpPr>
          <p:spPr>
            <a:xfrm>
              <a:off x="5637213" y="4160838"/>
              <a:ext cx="90488" cy="90488"/>
            </a:xfrm>
            <a:prstGeom prst="ellips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id-ID"/>
            </a:p>
          </p:txBody>
        </p:sp>
        <p:sp>
          <p:nvSpPr>
            <p:cNvPr id="50" name="Oval 49"/>
            <p:cNvSpPr>
              <a:spLocks noChangeArrowheads="1"/>
            </p:cNvSpPr>
            <p:nvPr/>
          </p:nvSpPr>
          <p:spPr>
            <a:xfrm>
              <a:off x="5818188" y="4024313"/>
              <a:ext cx="44450" cy="46038"/>
            </a:xfrm>
            <a:prstGeom prst="ellips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id-ID"/>
            </a:p>
          </p:txBody>
        </p:sp>
        <p:sp>
          <p:nvSpPr>
            <p:cNvPr id="51" name="Freeform 66"/>
            <p:cNvSpPr/>
            <p:nvPr/>
          </p:nvSpPr>
          <p:spPr>
            <a:xfrm>
              <a:off x="5562600" y="4084638"/>
              <a:ext cx="241300" cy="241300"/>
            </a:xfrm>
            <a:custGeom>
              <a:avLst/>
              <a:gdLst>
                <a:gd name="T0" fmla="*/ 58 w 64"/>
                <a:gd name="T1" fmla="*/ 32 h 64"/>
                <a:gd name="T2" fmla="*/ 57 w 64"/>
                <a:gd name="T3" fmla="*/ 27 h 64"/>
                <a:gd name="T4" fmla="*/ 64 w 64"/>
                <a:gd name="T5" fmla="*/ 23 h 64"/>
                <a:gd name="T6" fmla="*/ 56 w 64"/>
                <a:gd name="T7" fmla="*/ 9 h 64"/>
                <a:gd name="T8" fmla="*/ 50 w 64"/>
                <a:gd name="T9" fmla="*/ 13 h 64"/>
                <a:gd name="T10" fmla="*/ 40 w 64"/>
                <a:gd name="T11" fmla="*/ 7 h 64"/>
                <a:gd name="T12" fmla="*/ 40 w 64"/>
                <a:gd name="T13" fmla="*/ 0 h 64"/>
                <a:gd name="T14" fmla="*/ 24 w 64"/>
                <a:gd name="T15" fmla="*/ 0 h 64"/>
                <a:gd name="T16" fmla="*/ 24 w 64"/>
                <a:gd name="T17" fmla="*/ 7 h 64"/>
                <a:gd name="T18" fmla="*/ 15 w 64"/>
                <a:gd name="T19" fmla="*/ 13 h 64"/>
                <a:gd name="T20" fmla="*/ 8 w 64"/>
                <a:gd name="T21" fmla="*/ 9 h 64"/>
                <a:gd name="T22" fmla="*/ 0 w 64"/>
                <a:gd name="T23" fmla="*/ 23 h 64"/>
                <a:gd name="T24" fmla="*/ 7 w 64"/>
                <a:gd name="T25" fmla="*/ 27 h 64"/>
                <a:gd name="T26" fmla="*/ 6 w 64"/>
                <a:gd name="T27" fmla="*/ 32 h 64"/>
                <a:gd name="T28" fmla="*/ 7 w 64"/>
                <a:gd name="T29" fmla="*/ 37 h 64"/>
                <a:gd name="T30" fmla="*/ 0 w 64"/>
                <a:gd name="T31" fmla="*/ 41 h 64"/>
                <a:gd name="T32" fmla="*/ 8 w 64"/>
                <a:gd name="T33" fmla="*/ 55 h 64"/>
                <a:gd name="T34" fmla="*/ 15 w 64"/>
                <a:gd name="T35" fmla="*/ 51 h 64"/>
                <a:gd name="T36" fmla="*/ 24 w 64"/>
                <a:gd name="T37" fmla="*/ 57 h 64"/>
                <a:gd name="T38" fmla="*/ 24 w 64"/>
                <a:gd name="T39" fmla="*/ 64 h 64"/>
                <a:gd name="T40" fmla="*/ 40 w 64"/>
                <a:gd name="T41" fmla="*/ 64 h 64"/>
                <a:gd name="T42" fmla="*/ 40 w 64"/>
                <a:gd name="T43" fmla="*/ 57 h 64"/>
                <a:gd name="T44" fmla="*/ 50 w 64"/>
                <a:gd name="T45" fmla="*/ 51 h 64"/>
                <a:gd name="T46" fmla="*/ 56 w 64"/>
                <a:gd name="T47" fmla="*/ 55 h 64"/>
                <a:gd name="T48" fmla="*/ 64 w 64"/>
                <a:gd name="T49" fmla="*/ 41 h 64"/>
                <a:gd name="T50" fmla="*/ 57 w 64"/>
                <a:gd name="T51" fmla="*/ 37 h 64"/>
                <a:gd name="T52" fmla="*/ 58 w 64"/>
                <a:gd name="T53" fmla="*/ 32 h 64"/>
              </a:gdLst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4" h="64">
                  <a:moveTo>
                    <a:pt x="58" y="32"/>
                  </a:moveTo>
                  <a:cubicBezTo>
                    <a:pt x="58" y="30"/>
                    <a:pt x="58" y="28"/>
                    <a:pt x="57" y="27"/>
                  </a:cubicBezTo>
                  <a:quadBezTo>
                    <a:pt x="64" y="23"/>
                    <a:pt x="64" y="23"/>
                  </a:quadBezTo>
                  <a:quadBezTo>
                    <a:pt x="56" y="9"/>
                    <a:pt x="56" y="9"/>
                  </a:quadBezTo>
                  <a:quadBezTo>
                    <a:pt x="50" y="13"/>
                    <a:pt x="50" y="13"/>
                  </a:quadBezTo>
                  <a:cubicBezTo>
                    <a:pt x="47" y="10"/>
                    <a:pt x="44" y="8"/>
                    <a:pt x="40" y="7"/>
                  </a:cubicBezTo>
                  <a:quadBezTo>
                    <a:pt x="40" y="0"/>
                    <a:pt x="40" y="0"/>
                  </a:quadBezTo>
                  <a:quadBezTo>
                    <a:pt x="24" y="0"/>
                    <a:pt x="24" y="0"/>
                  </a:quadBezTo>
                  <a:quadBezTo>
                    <a:pt x="24" y="7"/>
                    <a:pt x="24" y="7"/>
                  </a:quadBezTo>
                  <a:cubicBezTo>
                    <a:pt x="20" y="8"/>
                    <a:pt x="17" y="10"/>
                    <a:pt x="15" y="13"/>
                  </a:cubicBezTo>
                  <a:quadBezTo>
                    <a:pt x="8" y="9"/>
                    <a:pt x="8" y="9"/>
                  </a:quadBezTo>
                  <a:quadBezTo>
                    <a:pt x="0" y="23"/>
                    <a:pt x="0" y="23"/>
                  </a:quadBezTo>
                  <a:quadBezTo>
                    <a:pt x="7" y="27"/>
                    <a:pt x="7" y="27"/>
                  </a:quadBezTo>
                  <a:cubicBezTo>
                    <a:pt x="6" y="28"/>
                    <a:pt x="6" y="30"/>
                    <a:pt x="6" y="32"/>
                  </a:cubicBezTo>
                  <a:cubicBezTo>
                    <a:pt x="6" y="34"/>
                    <a:pt x="6" y="36"/>
                    <a:pt x="7" y="37"/>
                  </a:cubicBezTo>
                  <a:quadBezTo>
                    <a:pt x="0" y="41"/>
                    <a:pt x="0" y="41"/>
                  </a:quadBezTo>
                  <a:quadBezTo>
                    <a:pt x="8" y="55"/>
                    <a:pt x="8" y="55"/>
                  </a:quadBezTo>
                  <a:quadBezTo>
                    <a:pt x="15" y="51"/>
                    <a:pt x="15" y="51"/>
                  </a:quadBezTo>
                  <a:cubicBezTo>
                    <a:pt x="17" y="54"/>
                    <a:pt x="20" y="56"/>
                    <a:pt x="24" y="57"/>
                  </a:cubicBezTo>
                  <a:quadBezTo>
                    <a:pt x="24" y="64"/>
                    <a:pt x="24" y="64"/>
                  </a:quadBezTo>
                  <a:quadBezTo>
                    <a:pt x="40" y="64"/>
                    <a:pt x="40" y="64"/>
                  </a:quadBezTo>
                  <a:quadBezTo>
                    <a:pt x="40" y="57"/>
                    <a:pt x="40" y="57"/>
                  </a:quadBezTo>
                  <a:cubicBezTo>
                    <a:pt x="44" y="56"/>
                    <a:pt x="47" y="54"/>
                    <a:pt x="50" y="51"/>
                  </a:cubicBezTo>
                  <a:quadBezTo>
                    <a:pt x="56" y="55"/>
                    <a:pt x="56" y="55"/>
                  </a:quadBezTo>
                  <a:quadBezTo>
                    <a:pt x="64" y="41"/>
                    <a:pt x="64" y="41"/>
                  </a:quadBezTo>
                  <a:quadBezTo>
                    <a:pt x="57" y="37"/>
                    <a:pt x="57" y="37"/>
                  </a:quadBezTo>
                  <a:cubicBezTo>
                    <a:pt x="58" y="36"/>
                    <a:pt x="58" y="34"/>
                    <a:pt x="58" y="32"/>
                  </a:cubicBez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id-ID"/>
            </a:p>
          </p:txBody>
        </p:sp>
        <p:sp>
          <p:nvSpPr>
            <p:cNvPr id="52" name="Freeform 67"/>
            <p:cNvSpPr/>
            <p:nvPr/>
          </p:nvSpPr>
          <p:spPr>
            <a:xfrm>
              <a:off x="5773738" y="3979863"/>
              <a:ext cx="134938" cy="134938"/>
            </a:xfrm>
            <a:custGeom>
              <a:avLst/>
              <a:gdLst>
                <a:gd name="T0" fmla="*/ 32 w 36"/>
                <a:gd name="T1" fmla="*/ 18 h 36"/>
                <a:gd name="T2" fmla="*/ 32 w 36"/>
                <a:gd name="T3" fmla="*/ 15 h 36"/>
                <a:gd name="T4" fmla="*/ 36 w 36"/>
                <a:gd name="T5" fmla="*/ 12 h 36"/>
                <a:gd name="T6" fmla="*/ 32 w 36"/>
                <a:gd name="T7" fmla="*/ 6 h 36"/>
                <a:gd name="T8" fmla="*/ 28 w 36"/>
                <a:gd name="T9" fmla="*/ 8 h 36"/>
                <a:gd name="T10" fmla="*/ 22 w 36"/>
                <a:gd name="T11" fmla="*/ 5 h 36"/>
                <a:gd name="T12" fmla="*/ 22 w 36"/>
                <a:gd name="T13" fmla="*/ 0 h 36"/>
                <a:gd name="T14" fmla="*/ 14 w 36"/>
                <a:gd name="T15" fmla="*/ 0 h 36"/>
                <a:gd name="T16" fmla="*/ 14 w 36"/>
                <a:gd name="T17" fmla="*/ 5 h 36"/>
                <a:gd name="T18" fmla="*/ 9 w 36"/>
                <a:gd name="T19" fmla="*/ 8 h 36"/>
                <a:gd name="T20" fmla="*/ 5 w 36"/>
                <a:gd name="T21" fmla="*/ 6 h 36"/>
                <a:gd name="T22" fmla="*/ 0 w 36"/>
                <a:gd name="T23" fmla="*/ 12 h 36"/>
                <a:gd name="T24" fmla="*/ 4 w 36"/>
                <a:gd name="T25" fmla="*/ 15 h 36"/>
                <a:gd name="T26" fmla="*/ 4 w 36"/>
                <a:gd name="T27" fmla="*/ 18 h 36"/>
                <a:gd name="T28" fmla="*/ 4 w 36"/>
                <a:gd name="T29" fmla="*/ 21 h 36"/>
                <a:gd name="T30" fmla="*/ 0 w 36"/>
                <a:gd name="T31" fmla="*/ 24 h 36"/>
                <a:gd name="T32" fmla="*/ 4 w 36"/>
                <a:gd name="T33" fmla="*/ 30 h 36"/>
                <a:gd name="T34" fmla="*/ 9 w 36"/>
                <a:gd name="T35" fmla="*/ 28 h 36"/>
                <a:gd name="T36" fmla="*/ 14 w 36"/>
                <a:gd name="T37" fmla="*/ 31 h 36"/>
                <a:gd name="T38" fmla="*/ 14 w 36"/>
                <a:gd name="T39" fmla="*/ 36 h 36"/>
                <a:gd name="T40" fmla="*/ 22 w 36"/>
                <a:gd name="T41" fmla="*/ 36 h 36"/>
                <a:gd name="T42" fmla="*/ 22 w 36"/>
                <a:gd name="T43" fmla="*/ 31 h 36"/>
                <a:gd name="T44" fmla="*/ 28 w 36"/>
                <a:gd name="T45" fmla="*/ 28 h 36"/>
                <a:gd name="T46" fmla="*/ 32 w 36"/>
                <a:gd name="T47" fmla="*/ 30 h 36"/>
                <a:gd name="T48" fmla="*/ 36 w 36"/>
                <a:gd name="T49" fmla="*/ 24 h 36"/>
                <a:gd name="T50" fmla="*/ 32 w 36"/>
                <a:gd name="T51" fmla="*/ 21 h 36"/>
                <a:gd name="T52" fmla="*/ 32 w 36"/>
                <a:gd name="T53" fmla="*/ 18 h 36"/>
              </a:gdLst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6" h="36">
                  <a:moveTo>
                    <a:pt x="32" y="18"/>
                  </a:moveTo>
                  <a:cubicBezTo>
                    <a:pt x="32" y="17"/>
                    <a:pt x="32" y="16"/>
                    <a:pt x="32" y="15"/>
                  </a:cubicBezTo>
                  <a:quadBezTo>
                    <a:pt x="36" y="12"/>
                    <a:pt x="36" y="12"/>
                  </a:quadBezTo>
                  <a:quadBezTo>
                    <a:pt x="32" y="6"/>
                    <a:pt x="32" y="6"/>
                  </a:quadBezTo>
                  <a:quadBezTo>
                    <a:pt x="28" y="8"/>
                    <a:pt x="28" y="8"/>
                  </a:quadBezTo>
                  <a:cubicBezTo>
                    <a:pt x="26" y="6"/>
                    <a:pt x="24" y="5"/>
                    <a:pt x="22" y="5"/>
                  </a:cubicBezTo>
                  <a:quadBezTo>
                    <a:pt x="22" y="0"/>
                    <a:pt x="22" y="0"/>
                  </a:quadBezTo>
                  <a:quadBezTo>
                    <a:pt x="14" y="0"/>
                    <a:pt x="14" y="0"/>
                  </a:quadBezTo>
                  <a:quadBezTo>
                    <a:pt x="14" y="5"/>
                    <a:pt x="14" y="5"/>
                  </a:quadBezTo>
                  <a:cubicBezTo>
                    <a:pt x="12" y="5"/>
                    <a:pt x="10" y="6"/>
                    <a:pt x="9" y="8"/>
                  </a:cubicBezTo>
                  <a:quadBezTo>
                    <a:pt x="5" y="6"/>
                    <a:pt x="5" y="6"/>
                  </a:quadBezTo>
                  <a:quadBezTo>
                    <a:pt x="0" y="12"/>
                    <a:pt x="0" y="12"/>
                  </a:quadBezTo>
                  <a:quadBezTo>
                    <a:pt x="4" y="15"/>
                    <a:pt x="4" y="15"/>
                  </a:quadBezTo>
                  <a:cubicBezTo>
                    <a:pt x="4" y="16"/>
                    <a:pt x="4" y="17"/>
                    <a:pt x="4" y="18"/>
                  </a:cubicBezTo>
                  <a:cubicBezTo>
                    <a:pt x="4" y="19"/>
                    <a:pt x="4" y="20"/>
                    <a:pt x="4" y="21"/>
                  </a:cubicBezTo>
                  <a:quadBezTo>
                    <a:pt x="0" y="24"/>
                    <a:pt x="0" y="24"/>
                  </a:quadBezTo>
                  <a:quadBezTo>
                    <a:pt x="4" y="30"/>
                    <a:pt x="4" y="30"/>
                  </a:quadBezTo>
                  <a:quadBezTo>
                    <a:pt x="9" y="28"/>
                    <a:pt x="9" y="28"/>
                  </a:quadBezTo>
                  <a:cubicBezTo>
                    <a:pt x="10" y="30"/>
                    <a:pt x="12" y="31"/>
                    <a:pt x="14" y="31"/>
                  </a:cubicBezTo>
                  <a:quadBezTo>
                    <a:pt x="14" y="36"/>
                    <a:pt x="14" y="36"/>
                  </a:quadBezTo>
                  <a:quadBezTo>
                    <a:pt x="22" y="36"/>
                    <a:pt x="22" y="36"/>
                  </a:quadBezTo>
                  <a:quadBezTo>
                    <a:pt x="22" y="31"/>
                    <a:pt x="22" y="31"/>
                  </a:quadBezTo>
                  <a:cubicBezTo>
                    <a:pt x="24" y="31"/>
                    <a:pt x="26" y="30"/>
                    <a:pt x="28" y="28"/>
                  </a:cubicBezTo>
                  <a:quadBezTo>
                    <a:pt x="32" y="30"/>
                    <a:pt x="32" y="30"/>
                  </a:quadBezTo>
                  <a:quadBezTo>
                    <a:pt x="36" y="24"/>
                    <a:pt x="36" y="24"/>
                  </a:quadBezTo>
                  <a:quadBezTo>
                    <a:pt x="32" y="21"/>
                    <a:pt x="32" y="21"/>
                  </a:quadBezTo>
                  <a:cubicBezTo>
                    <a:pt x="32" y="20"/>
                    <a:pt x="32" y="19"/>
                    <a:pt x="32" y="18"/>
                  </a:cubicBez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id-ID"/>
            </a:p>
          </p:txBody>
        </p:sp>
      </p:grpSp>
      <p:grpSp>
        <p:nvGrpSpPr>
          <p:cNvPr id="53" name="Group 52"/>
          <p:cNvGrpSpPr/>
          <p:nvPr/>
        </p:nvGrpSpPr>
        <p:grpSpPr>
          <a:xfrm rot="0">
            <a:off x="5988557" y="4698401"/>
            <a:ext cx="214886" cy="214886"/>
            <a:chOff x="5562600" y="3255963"/>
            <a:chExt cx="346075" cy="346075"/>
          </a:xfrm>
        </p:grpSpPr>
        <p:sp>
          <p:nvSpPr>
            <p:cNvPr id="54" name="Freeform 58"/>
            <p:cNvSpPr/>
            <p:nvPr/>
          </p:nvSpPr>
          <p:spPr>
            <a:xfrm>
              <a:off x="5562600" y="3286125"/>
              <a:ext cx="346075" cy="315913"/>
            </a:xfrm>
            <a:custGeom>
              <a:avLst/>
              <a:gdLst>
                <a:gd name="T0" fmla="*/ 38 w 218"/>
                <a:gd name="T1" fmla="*/ 0 h 199"/>
                <a:gd name="T2" fmla="*/ 0 w 218"/>
                <a:gd name="T3" fmla="*/ 0 h 199"/>
                <a:gd name="T4" fmla="*/ 0 w 218"/>
                <a:gd name="T5" fmla="*/ 199 h 199"/>
                <a:gd name="T6" fmla="*/ 218 w 218"/>
                <a:gd name="T7" fmla="*/ 199 h 199"/>
                <a:gd name="T8" fmla="*/ 218 w 218"/>
                <a:gd name="T9" fmla="*/ 0 h 199"/>
                <a:gd name="T10" fmla="*/ 180 w 218"/>
                <a:gd name="T11" fmla="*/ 0 h 199"/>
              </a:gdLst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8" h="199">
                  <a:moveTo>
                    <a:pt x="38" y="0"/>
                  </a:moveTo>
                  <a:lnTo>
                    <a:pt x="0" y="0"/>
                  </a:lnTo>
                  <a:lnTo>
                    <a:pt x="0" y="199"/>
                  </a:lnTo>
                  <a:lnTo>
                    <a:pt x="218" y="199"/>
                  </a:lnTo>
                  <a:lnTo>
                    <a:pt x="218" y="0"/>
                  </a:lnTo>
                  <a:lnTo>
                    <a:pt x="180" y="0"/>
                  </a:ln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id-ID"/>
            </a:p>
          </p:txBody>
        </p:sp>
        <p:sp>
          <p:nvSpPr>
            <p:cNvPr id="55" name="Rectangle 54"/>
            <p:cNvSpPr>
              <a:spLocks noChangeArrowheads="1"/>
            </p:cNvSpPr>
            <p:nvPr/>
          </p:nvSpPr>
          <p:spPr>
            <a:xfrm>
              <a:off x="5622925" y="3255963"/>
              <a:ext cx="44450" cy="60325"/>
            </a:xfrm>
            <a:prstGeom prst="rect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id-ID"/>
            </a:p>
          </p:txBody>
        </p:sp>
        <p:sp>
          <p:nvSpPr>
            <p:cNvPr id="56" name="Rectangle 55"/>
            <p:cNvSpPr>
              <a:spLocks noChangeArrowheads="1"/>
            </p:cNvSpPr>
            <p:nvPr/>
          </p:nvSpPr>
          <p:spPr>
            <a:xfrm>
              <a:off x="5803900" y="3255963"/>
              <a:ext cx="44450" cy="60325"/>
            </a:xfrm>
            <a:prstGeom prst="rect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id-ID"/>
            </a:p>
          </p:txBody>
        </p:sp>
        <p:sp>
          <p:nvSpPr>
            <p:cNvPr id="57" name="Line 61"/>
            <p:cNvSpPr>
              <a:spLocks noChangeShapeType="1"/>
            </p:cNvSpPr>
            <p:nvPr/>
          </p:nvSpPr>
          <p:spPr>
            <a:xfrm>
              <a:off x="5667375" y="3286125"/>
              <a:ext cx="13652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id-ID"/>
            </a:p>
          </p:txBody>
        </p:sp>
        <p:sp>
          <p:nvSpPr>
            <p:cNvPr id="58" name="Line 62"/>
            <p:cNvSpPr>
              <a:spLocks noChangeShapeType="1"/>
            </p:cNvSpPr>
            <p:nvPr/>
          </p:nvSpPr>
          <p:spPr>
            <a:xfrm>
              <a:off x="5562600" y="3360738"/>
              <a:ext cx="346075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id-ID"/>
            </a:p>
          </p:txBody>
        </p:sp>
        <p:sp>
          <p:nvSpPr>
            <p:cNvPr id="59" name="Line 63"/>
            <p:cNvSpPr>
              <a:spLocks noChangeShapeType="1"/>
            </p:cNvSpPr>
            <p:nvPr/>
          </p:nvSpPr>
          <p:spPr>
            <a:xfrm>
              <a:off x="5653088" y="3390900"/>
              <a:ext cx="0" cy="180975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id-ID"/>
            </a:p>
          </p:txBody>
        </p:sp>
        <p:sp>
          <p:nvSpPr>
            <p:cNvPr id="60" name="Line 64"/>
            <p:cNvSpPr>
              <a:spLocks noChangeShapeType="1"/>
            </p:cNvSpPr>
            <p:nvPr/>
          </p:nvSpPr>
          <p:spPr>
            <a:xfrm>
              <a:off x="5727700" y="3390900"/>
              <a:ext cx="0" cy="180975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id-ID"/>
            </a:p>
          </p:txBody>
        </p:sp>
        <p:sp>
          <p:nvSpPr>
            <p:cNvPr id="61" name="Line 65"/>
            <p:cNvSpPr>
              <a:spLocks noChangeShapeType="1"/>
            </p:cNvSpPr>
            <p:nvPr/>
          </p:nvSpPr>
          <p:spPr>
            <a:xfrm>
              <a:off x="5803900" y="3390900"/>
              <a:ext cx="0" cy="180975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id-ID"/>
            </a:p>
          </p:txBody>
        </p:sp>
        <p:sp>
          <p:nvSpPr>
            <p:cNvPr id="62" name="Line 66"/>
            <p:cNvSpPr>
              <a:spLocks noChangeShapeType="1"/>
            </p:cNvSpPr>
            <p:nvPr/>
          </p:nvSpPr>
          <p:spPr>
            <a:xfrm>
              <a:off x="5592763" y="3421063"/>
              <a:ext cx="285750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id-ID"/>
            </a:p>
          </p:txBody>
        </p:sp>
        <p:sp>
          <p:nvSpPr>
            <p:cNvPr id="63" name="Line 67"/>
            <p:cNvSpPr>
              <a:spLocks noChangeShapeType="1"/>
            </p:cNvSpPr>
            <p:nvPr/>
          </p:nvSpPr>
          <p:spPr>
            <a:xfrm>
              <a:off x="5592763" y="3481388"/>
              <a:ext cx="285750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id-ID"/>
            </a:p>
          </p:txBody>
        </p:sp>
        <p:sp>
          <p:nvSpPr>
            <p:cNvPr id="64" name="Line 68"/>
            <p:cNvSpPr>
              <a:spLocks noChangeShapeType="1"/>
            </p:cNvSpPr>
            <p:nvPr/>
          </p:nvSpPr>
          <p:spPr>
            <a:xfrm>
              <a:off x="5592763" y="3541713"/>
              <a:ext cx="285750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id-ID"/>
            </a:p>
          </p:txBody>
        </p:sp>
      </p:grpSp>
      <p:grpSp>
        <p:nvGrpSpPr>
          <p:cNvPr id="65" name="Group 64"/>
          <p:cNvGrpSpPr/>
          <p:nvPr/>
        </p:nvGrpSpPr>
        <p:grpSpPr>
          <a:xfrm rot="0">
            <a:off x="8179306" y="2516933"/>
            <a:ext cx="214886" cy="214886"/>
            <a:chOff x="5562600" y="2532063"/>
            <a:chExt cx="346075" cy="346075"/>
          </a:xfrm>
        </p:grpSpPr>
        <p:sp>
          <p:nvSpPr>
            <p:cNvPr id="66" name="Freeform 177"/>
            <p:cNvSpPr/>
            <p:nvPr/>
          </p:nvSpPr>
          <p:spPr>
            <a:xfrm>
              <a:off x="5727700" y="2630488"/>
              <a:ext cx="52388" cy="82550"/>
            </a:xfrm>
            <a:custGeom>
              <a:avLst/>
              <a:gdLst>
                <a:gd name="T0" fmla="*/ 33 w 33"/>
                <a:gd name="T1" fmla="*/ 52 h 52"/>
                <a:gd name="T2" fmla="*/ 0 w 33"/>
                <a:gd name="T3" fmla="*/ 52 h 52"/>
                <a:gd name="T4" fmla="*/ 0 w 33"/>
                <a:gd name="T5" fmla="*/ 0 h 52"/>
              </a:gdLst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3" h="52">
                  <a:moveTo>
                    <a:pt x="33" y="52"/>
                  </a:moveTo>
                  <a:lnTo>
                    <a:pt x="0" y="52"/>
                  </a:lnTo>
                  <a:lnTo>
                    <a:pt x="0" y="0"/>
                  </a:ln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id-ID"/>
            </a:p>
          </p:txBody>
        </p:sp>
        <p:sp>
          <p:nvSpPr>
            <p:cNvPr id="67" name="Freeform 178"/>
            <p:cNvSpPr/>
            <p:nvPr/>
          </p:nvSpPr>
          <p:spPr>
            <a:xfrm>
              <a:off x="5562600" y="2532063"/>
              <a:ext cx="346075" cy="346075"/>
            </a:xfrm>
            <a:custGeom>
              <a:avLst/>
              <a:gdLst>
                <a:gd name="T0" fmla="*/ 92 w 92"/>
                <a:gd name="T1" fmla="*/ 76 h 92"/>
                <a:gd name="T2" fmla="*/ 76 w 92"/>
                <a:gd name="T3" fmla="*/ 92 h 92"/>
                <a:gd name="T4" fmla="*/ 16 w 92"/>
                <a:gd name="T5" fmla="*/ 92 h 92"/>
                <a:gd name="T6" fmla="*/ 0 w 92"/>
                <a:gd name="T7" fmla="*/ 76 h 92"/>
                <a:gd name="T8" fmla="*/ 0 w 92"/>
                <a:gd name="T9" fmla="*/ 16 h 92"/>
                <a:gd name="T10" fmla="*/ 16 w 92"/>
                <a:gd name="T11" fmla="*/ 0 h 92"/>
                <a:gd name="T12" fmla="*/ 76 w 92"/>
                <a:gd name="T13" fmla="*/ 0 h 92"/>
                <a:gd name="T14" fmla="*/ 92 w 92"/>
                <a:gd name="T15" fmla="*/ 16 h 92"/>
                <a:gd name="T16" fmla="*/ 92 w 92"/>
                <a:gd name="T17" fmla="*/ 76 h 92"/>
              </a:gdLst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92">
                  <a:moveTo>
                    <a:pt x="92" y="76"/>
                  </a:moveTo>
                  <a:cubicBezTo>
                    <a:pt x="92" y="85"/>
                    <a:pt x="85" y="92"/>
                    <a:pt x="76" y="92"/>
                  </a:cubicBezTo>
                  <a:quadBezTo>
                    <a:pt x="16" y="92"/>
                    <a:pt x="16" y="92"/>
                  </a:quadBezTo>
                  <a:cubicBezTo>
                    <a:pt x="7" y="92"/>
                    <a:pt x="0" y="85"/>
                    <a:pt x="0" y="76"/>
                  </a:cubicBezTo>
                  <a:quadBezTo>
                    <a:pt x="0" y="16"/>
                    <a:pt x="0" y="16"/>
                  </a:quadBezTo>
                  <a:cubicBezTo>
                    <a:pt x="0" y="7"/>
                    <a:pt x="7" y="0"/>
                    <a:pt x="16" y="0"/>
                  </a:cubicBezTo>
                  <a:quadBezTo>
                    <a:pt x="76" y="0"/>
                    <a:pt x="76" y="0"/>
                  </a:quadBezTo>
                  <a:cubicBezTo>
                    <a:pt x="85" y="0"/>
                    <a:pt x="92" y="7"/>
                    <a:pt x="92" y="16"/>
                  </a:cubicBezTo>
                  <a:lnTo>
                    <a:pt x="92" y="76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id-ID"/>
            </a:p>
          </p:txBody>
        </p:sp>
        <p:sp>
          <p:nvSpPr>
            <p:cNvPr id="68" name="Oval 67"/>
            <p:cNvSpPr>
              <a:spLocks noChangeArrowheads="1"/>
            </p:cNvSpPr>
            <p:nvPr/>
          </p:nvSpPr>
          <p:spPr>
            <a:xfrm>
              <a:off x="5607050" y="2576513"/>
              <a:ext cx="255588" cy="257175"/>
            </a:xfrm>
            <a:prstGeom prst="ellips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id-ID"/>
            </a:p>
          </p:txBody>
        </p: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</p:sld>
</file>

<file path=ppt/slides/slide20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5"/>
          <p:cNvSpPr/>
          <p:nvPr/>
        </p:nvSpPr>
        <p:spPr>
          <a:xfrm>
            <a:off x="819528" y="2456656"/>
            <a:ext cx="2189163" cy="1200150"/>
          </a:xfrm>
          <a:custGeom>
            <a:avLst/>
            <a:gdLst>
              <a:gd name="T0" fmla="*/ 435 w 871"/>
              <a:gd name="T1" fmla="*/ 0 h 477"/>
              <a:gd name="T2" fmla="*/ 353 w 871"/>
              <a:gd name="T3" fmla="*/ 21 h 477"/>
              <a:gd name="T4" fmla="*/ 82 w 871"/>
              <a:gd name="T5" fmla="*/ 178 h 477"/>
              <a:gd name="T6" fmla="*/ 0 w 871"/>
              <a:gd name="T7" fmla="*/ 320 h 477"/>
              <a:gd name="T8" fmla="*/ 0 w 871"/>
              <a:gd name="T9" fmla="*/ 477 h 477"/>
              <a:gd name="T10" fmla="*/ 24 w 871"/>
              <a:gd name="T11" fmla="*/ 477 h 477"/>
              <a:gd name="T12" fmla="*/ 24 w 871"/>
              <a:gd name="T13" fmla="*/ 320 h 477"/>
              <a:gd name="T14" fmla="*/ 94 w 871"/>
              <a:gd name="T15" fmla="*/ 199 h 477"/>
              <a:gd name="T16" fmla="*/ 365 w 871"/>
              <a:gd name="T17" fmla="*/ 42 h 477"/>
              <a:gd name="T18" fmla="*/ 435 w 871"/>
              <a:gd name="T19" fmla="*/ 24 h 477"/>
              <a:gd name="T20" fmla="*/ 505 w 871"/>
              <a:gd name="T21" fmla="*/ 42 h 477"/>
              <a:gd name="T22" fmla="*/ 777 w 871"/>
              <a:gd name="T23" fmla="*/ 199 h 477"/>
              <a:gd name="T24" fmla="*/ 847 w 871"/>
              <a:gd name="T25" fmla="*/ 320 h 477"/>
              <a:gd name="T26" fmla="*/ 847 w 871"/>
              <a:gd name="T27" fmla="*/ 477 h 477"/>
              <a:gd name="T28" fmla="*/ 871 w 871"/>
              <a:gd name="T29" fmla="*/ 477 h 477"/>
              <a:gd name="T30" fmla="*/ 871 w 871"/>
              <a:gd name="T31" fmla="*/ 320 h 477"/>
              <a:gd name="T32" fmla="*/ 789 w 871"/>
              <a:gd name="T33" fmla="*/ 178 h 477"/>
              <a:gd name="T34" fmla="*/ 517 w 871"/>
              <a:gd name="T35" fmla="*/ 21 h 477"/>
              <a:gd name="T36" fmla="*/ 435 w 871"/>
              <a:gd name="T37" fmla="*/ 0 h 477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871" h="477">
                <a:moveTo>
                  <a:pt x="435" y="0"/>
                </a:moveTo>
                <a:cubicBezTo>
                  <a:pt x="407" y="0"/>
                  <a:pt x="378" y="7"/>
                  <a:pt x="353" y="21"/>
                </a:cubicBezTo>
                <a:quadBezTo>
                  <a:pt x="82" y="178"/>
                  <a:pt x="82" y="178"/>
                </a:quadBezTo>
                <a:cubicBezTo>
                  <a:pt x="33" y="207"/>
                  <a:pt x="0" y="264"/>
                  <a:pt x="0" y="320"/>
                </a:cubicBezTo>
                <a:quadBezTo>
                  <a:pt x="0" y="477"/>
                  <a:pt x="0" y="477"/>
                </a:quadBezTo>
                <a:quadBezTo>
                  <a:pt x="24" y="477"/>
                  <a:pt x="24" y="477"/>
                </a:quadBezTo>
                <a:quadBezTo>
                  <a:pt x="24" y="320"/>
                  <a:pt x="24" y="320"/>
                </a:quadBezTo>
                <a:cubicBezTo>
                  <a:pt x="24" y="272"/>
                  <a:pt x="52" y="223"/>
                  <a:pt x="94" y="199"/>
                </a:cubicBezTo>
                <a:quadBezTo>
                  <a:pt x="365" y="42"/>
                  <a:pt x="365" y="42"/>
                </a:quadBezTo>
                <a:cubicBezTo>
                  <a:pt x="386" y="30"/>
                  <a:pt x="411" y="24"/>
                  <a:pt x="435" y="24"/>
                </a:cubicBezTo>
                <a:cubicBezTo>
                  <a:pt x="460" y="24"/>
                  <a:pt x="484" y="30"/>
                  <a:pt x="505" y="42"/>
                </a:cubicBezTo>
                <a:quadBezTo>
                  <a:pt x="777" y="199"/>
                  <a:pt x="777" y="199"/>
                </a:quadBezTo>
                <a:cubicBezTo>
                  <a:pt x="819" y="223"/>
                  <a:pt x="847" y="272"/>
                  <a:pt x="847" y="320"/>
                </a:cubicBezTo>
                <a:quadBezTo>
                  <a:pt x="847" y="477"/>
                  <a:pt x="847" y="477"/>
                </a:quadBezTo>
                <a:quadBezTo>
                  <a:pt x="871" y="477"/>
                  <a:pt x="871" y="477"/>
                </a:quadBezTo>
                <a:quadBezTo>
                  <a:pt x="871" y="320"/>
                  <a:pt x="871" y="320"/>
                </a:quadBezTo>
                <a:cubicBezTo>
                  <a:pt x="871" y="264"/>
                  <a:pt x="838" y="207"/>
                  <a:pt x="789" y="178"/>
                </a:cubicBezTo>
                <a:quadBezTo>
                  <a:pt x="517" y="21"/>
                  <a:pt x="517" y="21"/>
                </a:quadBezTo>
                <a:cubicBezTo>
                  <a:pt x="493" y="7"/>
                  <a:pt x="464" y="0"/>
                  <a:pt x="435" y="0"/>
                </a:cubicBezTo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anchor="t" anchorCtr="0">
            <a:prstTxWarp prst="textNoShape">
              <a:avLst/>
            </a:prstTxWarp>
          </a:bodyPr>
          <a:lstStyle/>
          <a:p>
            <a:pPr marL="0" marR="0" lvl="0" indent="0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/>
            </a:pPr>
            <a:endParaRPr kumimoji="0" lang="id-ID" sz="1800" b="0" i="0" u="none" strike="noStrike" kern="0" cap="none" spc="0" normalizeH="0" baseline="0">
              <a:solidFill>
                <a:prstClr val="black"/>
              </a:solidFill>
              <a:effectLst/>
              <a:uLnTx/>
              <a:uFillTx/>
              <a:latin typeface="Futura Md BT"/>
            </a:endParaRPr>
          </a:p>
        </p:txBody>
      </p:sp>
      <p:sp>
        <p:nvSpPr>
          <p:cNvPr id="5" name="Freeform 6"/>
          <p:cNvSpPr/>
          <p:nvPr/>
        </p:nvSpPr>
        <p:spPr>
          <a:xfrm>
            <a:off x="2948366" y="3656806"/>
            <a:ext cx="2187575" cy="1201738"/>
          </a:xfrm>
          <a:custGeom>
            <a:avLst/>
            <a:gdLst>
              <a:gd name="T0" fmla="*/ 871 w 871"/>
              <a:gd name="T1" fmla="*/ 0 h 477"/>
              <a:gd name="T2" fmla="*/ 847 w 871"/>
              <a:gd name="T3" fmla="*/ 0 h 477"/>
              <a:gd name="T4" fmla="*/ 847 w 871"/>
              <a:gd name="T5" fmla="*/ 157 h 477"/>
              <a:gd name="T6" fmla="*/ 777 w 871"/>
              <a:gd name="T7" fmla="*/ 278 h 477"/>
              <a:gd name="T8" fmla="*/ 505 w 871"/>
              <a:gd name="T9" fmla="*/ 435 h 477"/>
              <a:gd name="T10" fmla="*/ 435 w 871"/>
              <a:gd name="T11" fmla="*/ 453 h 477"/>
              <a:gd name="T12" fmla="*/ 365 w 871"/>
              <a:gd name="T13" fmla="*/ 435 h 477"/>
              <a:gd name="T14" fmla="*/ 94 w 871"/>
              <a:gd name="T15" fmla="*/ 278 h 477"/>
              <a:gd name="T16" fmla="*/ 24 w 871"/>
              <a:gd name="T17" fmla="*/ 157 h 477"/>
              <a:gd name="T18" fmla="*/ 24 w 871"/>
              <a:gd name="T19" fmla="*/ 0 h 477"/>
              <a:gd name="T20" fmla="*/ 0 w 871"/>
              <a:gd name="T21" fmla="*/ 0 h 477"/>
              <a:gd name="T22" fmla="*/ 0 w 871"/>
              <a:gd name="T23" fmla="*/ 157 h 477"/>
              <a:gd name="T24" fmla="*/ 82 w 871"/>
              <a:gd name="T25" fmla="*/ 299 h 477"/>
              <a:gd name="T26" fmla="*/ 353 w 871"/>
              <a:gd name="T27" fmla="*/ 456 h 477"/>
              <a:gd name="T28" fmla="*/ 435 w 871"/>
              <a:gd name="T29" fmla="*/ 477 h 477"/>
              <a:gd name="T30" fmla="*/ 517 w 871"/>
              <a:gd name="T31" fmla="*/ 456 h 477"/>
              <a:gd name="T32" fmla="*/ 789 w 871"/>
              <a:gd name="T33" fmla="*/ 299 h 477"/>
              <a:gd name="T34" fmla="*/ 871 w 871"/>
              <a:gd name="T35" fmla="*/ 157 h 477"/>
              <a:gd name="T36" fmla="*/ 871 w 871"/>
              <a:gd name="T37" fmla="*/ 0 h 477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871" h="477">
                <a:moveTo>
                  <a:pt x="871" y="0"/>
                </a:moveTo>
                <a:quadBezTo>
                  <a:pt x="847" y="0"/>
                  <a:pt x="847" y="0"/>
                </a:quadBezTo>
                <a:quadBezTo>
                  <a:pt x="847" y="157"/>
                  <a:pt x="847" y="157"/>
                </a:quadBezTo>
                <a:cubicBezTo>
                  <a:pt x="847" y="205"/>
                  <a:pt x="819" y="254"/>
                  <a:pt x="777" y="278"/>
                </a:cubicBezTo>
                <a:quadBezTo>
                  <a:pt x="505" y="435"/>
                  <a:pt x="505" y="435"/>
                </a:quadBezTo>
                <a:cubicBezTo>
                  <a:pt x="484" y="447"/>
                  <a:pt x="460" y="453"/>
                  <a:pt x="435" y="453"/>
                </a:cubicBezTo>
                <a:cubicBezTo>
                  <a:pt x="411" y="453"/>
                  <a:pt x="386" y="447"/>
                  <a:pt x="365" y="435"/>
                </a:cubicBezTo>
                <a:quadBezTo>
                  <a:pt x="94" y="278"/>
                  <a:pt x="94" y="278"/>
                </a:quadBezTo>
                <a:cubicBezTo>
                  <a:pt x="52" y="254"/>
                  <a:pt x="24" y="205"/>
                  <a:pt x="24" y="157"/>
                </a:cubicBezTo>
                <a:quadBezTo>
                  <a:pt x="24" y="0"/>
                  <a:pt x="24" y="0"/>
                </a:quadBezTo>
                <a:quadBezTo>
                  <a:pt x="0" y="0"/>
                  <a:pt x="0" y="0"/>
                </a:quadBezTo>
                <a:quadBezTo>
                  <a:pt x="0" y="157"/>
                  <a:pt x="0" y="157"/>
                </a:quadBezTo>
                <a:cubicBezTo>
                  <a:pt x="0" y="213"/>
                  <a:pt x="33" y="270"/>
                  <a:pt x="82" y="299"/>
                </a:cubicBezTo>
                <a:quadBezTo>
                  <a:pt x="353" y="456"/>
                  <a:pt x="353" y="456"/>
                </a:quadBezTo>
                <a:cubicBezTo>
                  <a:pt x="378" y="470"/>
                  <a:pt x="406" y="477"/>
                  <a:pt x="435" y="477"/>
                </a:cubicBezTo>
                <a:cubicBezTo>
                  <a:pt x="464" y="477"/>
                  <a:pt x="492" y="470"/>
                  <a:pt x="517" y="456"/>
                </a:cubicBezTo>
                <a:quadBezTo>
                  <a:pt x="789" y="299"/>
                  <a:pt x="789" y="299"/>
                </a:quadBezTo>
                <a:cubicBezTo>
                  <a:pt x="838" y="270"/>
                  <a:pt x="871" y="213"/>
                  <a:pt x="871" y="157"/>
                </a:cubicBezTo>
                <a:quadBezTo>
                  <a:pt x="871" y="0"/>
                  <a:pt x="871" y="0"/>
                </a:quadBezTo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anchor="t" anchorCtr="0">
            <a:prstTxWarp prst="textNoShape">
              <a:avLst/>
            </a:prstTxWarp>
          </a:bodyPr>
          <a:lstStyle/>
          <a:p>
            <a:pPr marL="0" marR="0" lvl="0" indent="0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/>
            </a:pPr>
            <a:endParaRPr kumimoji="0" lang="id-ID" sz="1800" b="0" i="0" u="none" strike="noStrike" kern="0" cap="none" spc="0" normalizeH="0" baseline="0">
              <a:solidFill>
                <a:prstClr val="black"/>
              </a:solidFill>
              <a:effectLst/>
              <a:uLnTx/>
              <a:uFillTx/>
              <a:latin typeface="Futura Md BT"/>
            </a:endParaRPr>
          </a:p>
        </p:txBody>
      </p:sp>
      <p:sp>
        <p:nvSpPr>
          <p:cNvPr id="6" name="Freeform 7"/>
          <p:cNvSpPr/>
          <p:nvPr/>
        </p:nvSpPr>
        <p:spPr>
          <a:xfrm>
            <a:off x="5075616" y="2456656"/>
            <a:ext cx="2185988" cy="1200150"/>
          </a:xfrm>
          <a:custGeom>
            <a:avLst/>
            <a:gdLst>
              <a:gd name="T0" fmla="*/ 435 w 870"/>
              <a:gd name="T1" fmla="*/ 0 h 477"/>
              <a:gd name="T2" fmla="*/ 353 w 870"/>
              <a:gd name="T3" fmla="*/ 21 h 477"/>
              <a:gd name="T4" fmla="*/ 81 w 870"/>
              <a:gd name="T5" fmla="*/ 178 h 477"/>
              <a:gd name="T6" fmla="*/ 0 w 870"/>
              <a:gd name="T7" fmla="*/ 320 h 477"/>
              <a:gd name="T8" fmla="*/ 0 w 870"/>
              <a:gd name="T9" fmla="*/ 477 h 477"/>
              <a:gd name="T10" fmla="*/ 24 w 870"/>
              <a:gd name="T11" fmla="*/ 477 h 477"/>
              <a:gd name="T12" fmla="*/ 24 w 870"/>
              <a:gd name="T13" fmla="*/ 320 h 477"/>
              <a:gd name="T14" fmla="*/ 93 w 870"/>
              <a:gd name="T15" fmla="*/ 199 h 477"/>
              <a:gd name="T16" fmla="*/ 365 w 870"/>
              <a:gd name="T17" fmla="*/ 42 h 477"/>
              <a:gd name="T18" fmla="*/ 435 w 870"/>
              <a:gd name="T19" fmla="*/ 24 h 477"/>
              <a:gd name="T20" fmla="*/ 505 w 870"/>
              <a:gd name="T21" fmla="*/ 42 h 477"/>
              <a:gd name="T22" fmla="*/ 777 w 870"/>
              <a:gd name="T23" fmla="*/ 199 h 477"/>
              <a:gd name="T24" fmla="*/ 846 w 870"/>
              <a:gd name="T25" fmla="*/ 320 h 477"/>
              <a:gd name="T26" fmla="*/ 846 w 870"/>
              <a:gd name="T27" fmla="*/ 477 h 477"/>
              <a:gd name="T28" fmla="*/ 870 w 870"/>
              <a:gd name="T29" fmla="*/ 477 h 477"/>
              <a:gd name="T30" fmla="*/ 870 w 870"/>
              <a:gd name="T31" fmla="*/ 320 h 477"/>
              <a:gd name="T32" fmla="*/ 789 w 870"/>
              <a:gd name="T33" fmla="*/ 178 h 477"/>
              <a:gd name="T34" fmla="*/ 517 w 870"/>
              <a:gd name="T35" fmla="*/ 21 h 477"/>
              <a:gd name="T36" fmla="*/ 435 w 870"/>
              <a:gd name="T37" fmla="*/ 0 h 477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870" h="477">
                <a:moveTo>
                  <a:pt x="435" y="0"/>
                </a:moveTo>
                <a:cubicBezTo>
                  <a:pt x="406" y="0"/>
                  <a:pt x="378" y="7"/>
                  <a:pt x="353" y="21"/>
                </a:cubicBezTo>
                <a:quadBezTo>
                  <a:pt x="81" y="178"/>
                  <a:pt x="81" y="178"/>
                </a:quadBezTo>
                <a:cubicBezTo>
                  <a:pt x="32" y="207"/>
                  <a:pt x="0" y="264"/>
                  <a:pt x="0" y="320"/>
                </a:cubicBezTo>
                <a:quadBezTo>
                  <a:pt x="0" y="477"/>
                  <a:pt x="0" y="477"/>
                </a:quadBezTo>
                <a:quadBezTo>
                  <a:pt x="24" y="477"/>
                  <a:pt x="24" y="477"/>
                </a:quadBezTo>
                <a:quadBezTo>
                  <a:pt x="24" y="320"/>
                  <a:pt x="24" y="320"/>
                </a:quadBezTo>
                <a:cubicBezTo>
                  <a:pt x="24" y="272"/>
                  <a:pt x="52" y="223"/>
                  <a:pt x="93" y="199"/>
                </a:cubicBezTo>
                <a:quadBezTo>
                  <a:pt x="365" y="42"/>
                  <a:pt x="365" y="42"/>
                </a:quadBezTo>
                <a:cubicBezTo>
                  <a:pt x="386" y="30"/>
                  <a:pt x="411" y="24"/>
                  <a:pt x="435" y="24"/>
                </a:cubicBezTo>
                <a:cubicBezTo>
                  <a:pt x="459" y="24"/>
                  <a:pt x="484" y="30"/>
                  <a:pt x="505" y="42"/>
                </a:cubicBezTo>
                <a:quadBezTo>
                  <a:pt x="777" y="199"/>
                  <a:pt x="777" y="199"/>
                </a:quadBezTo>
                <a:cubicBezTo>
                  <a:pt x="818" y="223"/>
                  <a:pt x="846" y="272"/>
                  <a:pt x="846" y="320"/>
                </a:cubicBezTo>
                <a:quadBezTo>
                  <a:pt x="846" y="477"/>
                  <a:pt x="846" y="477"/>
                </a:quadBezTo>
                <a:quadBezTo>
                  <a:pt x="870" y="477"/>
                  <a:pt x="870" y="477"/>
                </a:quadBezTo>
                <a:quadBezTo>
                  <a:pt x="870" y="320"/>
                  <a:pt x="870" y="320"/>
                </a:quadBezTo>
                <a:cubicBezTo>
                  <a:pt x="870" y="264"/>
                  <a:pt x="838" y="207"/>
                  <a:pt x="789" y="178"/>
                </a:cubicBezTo>
                <a:quadBezTo>
                  <a:pt x="517" y="21"/>
                  <a:pt x="517" y="21"/>
                </a:quadBezTo>
                <a:cubicBezTo>
                  <a:pt x="492" y="7"/>
                  <a:pt x="464" y="0"/>
                  <a:pt x="435" y="0"/>
                </a:cubicBezTo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anchor="t" anchorCtr="0">
            <a:prstTxWarp prst="textNoShape">
              <a:avLst/>
            </a:prstTxWarp>
          </a:bodyPr>
          <a:lstStyle/>
          <a:p>
            <a:pPr marL="0" marR="0" lvl="0" indent="0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/>
            </a:pPr>
            <a:endParaRPr kumimoji="0" lang="id-ID" sz="1800" b="0" i="0" u="none" strike="noStrike" kern="0" cap="none" spc="0" normalizeH="0" baseline="0">
              <a:solidFill>
                <a:prstClr val="black"/>
              </a:solidFill>
              <a:effectLst/>
              <a:uLnTx/>
              <a:uFillTx/>
              <a:latin typeface="Futura Md BT"/>
            </a:endParaRPr>
          </a:p>
        </p:txBody>
      </p:sp>
      <p:sp>
        <p:nvSpPr>
          <p:cNvPr id="7" name="Freeform 8"/>
          <p:cNvSpPr/>
          <p:nvPr/>
        </p:nvSpPr>
        <p:spPr>
          <a:xfrm>
            <a:off x="7201278" y="3656806"/>
            <a:ext cx="2189163" cy="1201738"/>
          </a:xfrm>
          <a:custGeom>
            <a:avLst/>
            <a:gdLst>
              <a:gd name="T0" fmla="*/ 871 w 871"/>
              <a:gd name="T1" fmla="*/ 0 h 477"/>
              <a:gd name="T2" fmla="*/ 847 w 871"/>
              <a:gd name="T3" fmla="*/ 0 h 477"/>
              <a:gd name="T4" fmla="*/ 847 w 871"/>
              <a:gd name="T5" fmla="*/ 157 h 477"/>
              <a:gd name="T6" fmla="*/ 777 w 871"/>
              <a:gd name="T7" fmla="*/ 278 h 477"/>
              <a:gd name="T8" fmla="*/ 506 w 871"/>
              <a:gd name="T9" fmla="*/ 435 h 477"/>
              <a:gd name="T10" fmla="*/ 436 w 871"/>
              <a:gd name="T11" fmla="*/ 453 h 477"/>
              <a:gd name="T12" fmla="*/ 366 w 871"/>
              <a:gd name="T13" fmla="*/ 435 h 477"/>
              <a:gd name="T14" fmla="*/ 94 w 871"/>
              <a:gd name="T15" fmla="*/ 278 h 477"/>
              <a:gd name="T16" fmla="*/ 24 w 871"/>
              <a:gd name="T17" fmla="*/ 157 h 477"/>
              <a:gd name="T18" fmla="*/ 24 w 871"/>
              <a:gd name="T19" fmla="*/ 0 h 477"/>
              <a:gd name="T20" fmla="*/ 0 w 871"/>
              <a:gd name="T21" fmla="*/ 0 h 477"/>
              <a:gd name="T22" fmla="*/ 0 w 871"/>
              <a:gd name="T23" fmla="*/ 157 h 477"/>
              <a:gd name="T24" fmla="*/ 82 w 871"/>
              <a:gd name="T25" fmla="*/ 299 h 477"/>
              <a:gd name="T26" fmla="*/ 354 w 871"/>
              <a:gd name="T27" fmla="*/ 456 h 477"/>
              <a:gd name="T28" fmla="*/ 436 w 871"/>
              <a:gd name="T29" fmla="*/ 477 h 477"/>
              <a:gd name="T30" fmla="*/ 518 w 871"/>
              <a:gd name="T31" fmla="*/ 456 h 477"/>
              <a:gd name="T32" fmla="*/ 789 w 871"/>
              <a:gd name="T33" fmla="*/ 299 h 477"/>
              <a:gd name="T34" fmla="*/ 871 w 871"/>
              <a:gd name="T35" fmla="*/ 157 h 477"/>
              <a:gd name="T36" fmla="*/ 871 w 871"/>
              <a:gd name="T37" fmla="*/ 0 h 477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871" h="477">
                <a:moveTo>
                  <a:pt x="871" y="0"/>
                </a:moveTo>
                <a:quadBezTo>
                  <a:pt x="847" y="0"/>
                  <a:pt x="847" y="0"/>
                </a:quadBezTo>
                <a:quadBezTo>
                  <a:pt x="847" y="157"/>
                  <a:pt x="847" y="157"/>
                </a:quadBezTo>
                <a:cubicBezTo>
                  <a:pt x="847" y="205"/>
                  <a:pt x="819" y="254"/>
                  <a:pt x="777" y="278"/>
                </a:cubicBezTo>
                <a:quadBezTo>
                  <a:pt x="506" y="435"/>
                  <a:pt x="506" y="435"/>
                </a:quadBezTo>
                <a:cubicBezTo>
                  <a:pt x="485" y="447"/>
                  <a:pt x="460" y="453"/>
                  <a:pt x="436" y="453"/>
                </a:cubicBezTo>
                <a:cubicBezTo>
                  <a:pt x="411" y="453"/>
                  <a:pt x="387" y="447"/>
                  <a:pt x="366" y="435"/>
                </a:cubicBezTo>
                <a:quadBezTo>
                  <a:pt x="94" y="278"/>
                  <a:pt x="94" y="278"/>
                </a:quadBezTo>
                <a:cubicBezTo>
                  <a:pt x="52" y="254"/>
                  <a:pt x="24" y="205"/>
                  <a:pt x="24" y="157"/>
                </a:cubicBezTo>
                <a:quadBezTo>
                  <a:pt x="24" y="0"/>
                  <a:pt x="24" y="0"/>
                </a:quadBezTo>
                <a:quadBezTo>
                  <a:pt x="0" y="0"/>
                  <a:pt x="0" y="0"/>
                </a:quadBezTo>
                <a:quadBezTo>
                  <a:pt x="0" y="157"/>
                  <a:pt x="0" y="157"/>
                </a:quadBezTo>
                <a:cubicBezTo>
                  <a:pt x="0" y="213"/>
                  <a:pt x="33" y="270"/>
                  <a:pt x="82" y="299"/>
                </a:cubicBezTo>
                <a:quadBezTo>
                  <a:pt x="354" y="456"/>
                  <a:pt x="354" y="456"/>
                </a:quadBezTo>
                <a:cubicBezTo>
                  <a:pt x="378" y="470"/>
                  <a:pt x="407" y="477"/>
                  <a:pt x="436" y="477"/>
                </a:cubicBezTo>
                <a:cubicBezTo>
                  <a:pt x="465" y="477"/>
                  <a:pt x="493" y="470"/>
                  <a:pt x="518" y="456"/>
                </a:cubicBezTo>
                <a:quadBezTo>
                  <a:pt x="789" y="299"/>
                  <a:pt x="789" y="299"/>
                </a:quadBezTo>
                <a:cubicBezTo>
                  <a:pt x="838" y="270"/>
                  <a:pt x="871" y="213"/>
                  <a:pt x="871" y="157"/>
                </a:cubicBezTo>
                <a:quadBezTo>
                  <a:pt x="871" y="0"/>
                  <a:pt x="871" y="0"/>
                </a:quadBezTo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anchor="t" anchorCtr="0">
            <a:prstTxWarp prst="textNoShape">
              <a:avLst/>
            </a:prstTxWarp>
          </a:bodyPr>
          <a:lstStyle/>
          <a:p>
            <a:pPr marL="0" marR="0" lvl="0" indent="0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/>
            </a:pPr>
            <a:endParaRPr kumimoji="0" lang="id-ID" sz="1800" b="0" i="0" u="none" strike="noStrike" kern="0" cap="none" spc="0" normalizeH="0" baseline="0">
              <a:solidFill>
                <a:prstClr val="black"/>
              </a:solidFill>
              <a:effectLst/>
              <a:uLnTx/>
              <a:uFillTx/>
              <a:latin typeface="Futura Md BT"/>
            </a:endParaRPr>
          </a:p>
        </p:txBody>
      </p:sp>
      <p:sp>
        <p:nvSpPr>
          <p:cNvPr id="8" name="Freeform 9"/>
          <p:cNvSpPr/>
          <p:nvPr/>
        </p:nvSpPr>
        <p:spPr>
          <a:xfrm>
            <a:off x="9330116" y="2456656"/>
            <a:ext cx="2189163" cy="1200150"/>
          </a:xfrm>
          <a:custGeom>
            <a:avLst/>
            <a:gdLst>
              <a:gd name="T0" fmla="*/ 436 w 871"/>
              <a:gd name="T1" fmla="*/ 0 h 477"/>
              <a:gd name="T2" fmla="*/ 354 w 871"/>
              <a:gd name="T3" fmla="*/ 21 h 477"/>
              <a:gd name="T4" fmla="*/ 82 w 871"/>
              <a:gd name="T5" fmla="*/ 178 h 477"/>
              <a:gd name="T6" fmla="*/ 0 w 871"/>
              <a:gd name="T7" fmla="*/ 320 h 477"/>
              <a:gd name="T8" fmla="*/ 0 w 871"/>
              <a:gd name="T9" fmla="*/ 477 h 477"/>
              <a:gd name="T10" fmla="*/ 24 w 871"/>
              <a:gd name="T11" fmla="*/ 477 h 477"/>
              <a:gd name="T12" fmla="*/ 24 w 871"/>
              <a:gd name="T13" fmla="*/ 320 h 477"/>
              <a:gd name="T14" fmla="*/ 94 w 871"/>
              <a:gd name="T15" fmla="*/ 199 h 477"/>
              <a:gd name="T16" fmla="*/ 366 w 871"/>
              <a:gd name="T17" fmla="*/ 42 h 477"/>
              <a:gd name="T18" fmla="*/ 436 w 871"/>
              <a:gd name="T19" fmla="*/ 24 h 477"/>
              <a:gd name="T20" fmla="*/ 506 w 871"/>
              <a:gd name="T21" fmla="*/ 42 h 477"/>
              <a:gd name="T22" fmla="*/ 777 w 871"/>
              <a:gd name="T23" fmla="*/ 199 h 477"/>
              <a:gd name="T24" fmla="*/ 847 w 871"/>
              <a:gd name="T25" fmla="*/ 320 h 477"/>
              <a:gd name="T26" fmla="*/ 847 w 871"/>
              <a:gd name="T27" fmla="*/ 477 h 477"/>
              <a:gd name="T28" fmla="*/ 871 w 871"/>
              <a:gd name="T29" fmla="*/ 477 h 477"/>
              <a:gd name="T30" fmla="*/ 871 w 871"/>
              <a:gd name="T31" fmla="*/ 320 h 477"/>
              <a:gd name="T32" fmla="*/ 789 w 871"/>
              <a:gd name="T33" fmla="*/ 178 h 477"/>
              <a:gd name="T34" fmla="*/ 518 w 871"/>
              <a:gd name="T35" fmla="*/ 21 h 477"/>
              <a:gd name="T36" fmla="*/ 436 w 871"/>
              <a:gd name="T37" fmla="*/ 0 h 477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871" h="477">
                <a:moveTo>
                  <a:pt x="436" y="0"/>
                </a:moveTo>
                <a:cubicBezTo>
                  <a:pt x="407" y="0"/>
                  <a:pt x="378" y="7"/>
                  <a:pt x="354" y="21"/>
                </a:cubicBezTo>
                <a:quadBezTo>
                  <a:pt x="82" y="178"/>
                  <a:pt x="82" y="178"/>
                </a:quadBezTo>
                <a:cubicBezTo>
                  <a:pt x="33" y="207"/>
                  <a:pt x="0" y="264"/>
                  <a:pt x="0" y="320"/>
                </a:cubicBezTo>
                <a:quadBezTo>
                  <a:pt x="0" y="477"/>
                  <a:pt x="0" y="477"/>
                </a:quadBezTo>
                <a:quadBezTo>
                  <a:pt x="24" y="477"/>
                  <a:pt x="24" y="477"/>
                </a:quadBezTo>
                <a:quadBezTo>
                  <a:pt x="24" y="320"/>
                  <a:pt x="24" y="320"/>
                </a:quadBezTo>
                <a:cubicBezTo>
                  <a:pt x="24" y="272"/>
                  <a:pt x="52" y="223"/>
                  <a:pt x="94" y="199"/>
                </a:cubicBezTo>
                <a:quadBezTo>
                  <a:pt x="366" y="42"/>
                  <a:pt x="366" y="42"/>
                </a:quadBezTo>
                <a:cubicBezTo>
                  <a:pt x="387" y="30"/>
                  <a:pt x="411" y="24"/>
                  <a:pt x="436" y="24"/>
                </a:cubicBezTo>
                <a:cubicBezTo>
                  <a:pt x="460" y="24"/>
                  <a:pt x="485" y="30"/>
                  <a:pt x="506" y="42"/>
                </a:cubicBezTo>
                <a:quadBezTo>
                  <a:pt x="777" y="199"/>
                  <a:pt x="777" y="199"/>
                </a:quadBezTo>
                <a:cubicBezTo>
                  <a:pt x="819" y="223"/>
                  <a:pt x="847" y="272"/>
                  <a:pt x="847" y="320"/>
                </a:cubicBezTo>
                <a:quadBezTo>
                  <a:pt x="847" y="477"/>
                  <a:pt x="847" y="477"/>
                </a:quadBezTo>
                <a:quadBezTo>
                  <a:pt x="871" y="477"/>
                  <a:pt x="871" y="477"/>
                </a:quadBezTo>
                <a:quadBezTo>
                  <a:pt x="871" y="320"/>
                  <a:pt x="871" y="320"/>
                </a:quadBezTo>
                <a:cubicBezTo>
                  <a:pt x="871" y="264"/>
                  <a:pt x="838" y="207"/>
                  <a:pt x="789" y="178"/>
                </a:cubicBezTo>
                <a:quadBezTo>
                  <a:pt x="518" y="21"/>
                  <a:pt x="518" y="21"/>
                </a:quadBezTo>
                <a:cubicBezTo>
                  <a:pt x="493" y="7"/>
                  <a:pt x="464" y="0"/>
                  <a:pt x="436" y="0"/>
                </a:cubicBezTo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anchor="t" anchorCtr="0">
            <a:prstTxWarp prst="textNoShape">
              <a:avLst/>
            </a:prstTxWarp>
          </a:bodyPr>
          <a:lstStyle/>
          <a:p>
            <a:pPr marL="0" marR="0" lvl="0" indent="0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/>
            </a:pPr>
            <a:endParaRPr kumimoji="0" lang="id-ID" sz="1800" b="0" i="0" u="none" strike="noStrike" kern="0" cap="none" spc="0" normalizeH="0" baseline="0">
              <a:solidFill>
                <a:prstClr val="black"/>
              </a:solidFill>
              <a:effectLst/>
              <a:uLnTx/>
              <a:uFillTx/>
              <a:latin typeface="Futura Md BT"/>
            </a:endParaRPr>
          </a:p>
        </p:txBody>
      </p:sp>
      <p:sp>
        <p:nvSpPr>
          <p:cNvPr id="9" name="Freeform 11"/>
          <p:cNvSpPr/>
          <p:nvPr/>
        </p:nvSpPr>
        <p:spPr>
          <a:xfrm>
            <a:off x="9674603" y="2802731"/>
            <a:ext cx="1500188" cy="1709738"/>
          </a:xfrm>
          <a:custGeom>
            <a:avLst/>
            <a:gdLst>
              <a:gd name="T0" fmla="*/ 597 w 597"/>
              <a:gd name="T1" fmla="*/ 492 h 680"/>
              <a:gd name="T2" fmla="*/ 579 w 597"/>
              <a:gd name="T3" fmla="*/ 522 h 680"/>
              <a:gd name="T4" fmla="*/ 316 w 597"/>
              <a:gd name="T5" fmla="*/ 674 h 680"/>
              <a:gd name="T6" fmla="*/ 281 w 597"/>
              <a:gd name="T7" fmla="*/ 674 h 680"/>
              <a:gd name="T8" fmla="*/ 18 w 597"/>
              <a:gd name="T9" fmla="*/ 522 h 680"/>
              <a:gd name="T10" fmla="*/ 0 w 597"/>
              <a:gd name="T11" fmla="*/ 492 h 680"/>
              <a:gd name="T12" fmla="*/ 0 w 597"/>
              <a:gd name="T13" fmla="*/ 188 h 680"/>
              <a:gd name="T14" fmla="*/ 18 w 597"/>
              <a:gd name="T15" fmla="*/ 158 h 680"/>
              <a:gd name="T16" fmla="*/ 281 w 597"/>
              <a:gd name="T17" fmla="*/ 6 h 680"/>
              <a:gd name="T18" fmla="*/ 316 w 597"/>
              <a:gd name="T19" fmla="*/ 6 h 680"/>
              <a:gd name="T20" fmla="*/ 579 w 597"/>
              <a:gd name="T21" fmla="*/ 158 h 680"/>
              <a:gd name="T22" fmla="*/ 597 w 597"/>
              <a:gd name="T23" fmla="*/ 188 h 680"/>
              <a:gd name="T24" fmla="*/ 597 w 597"/>
              <a:gd name="T25" fmla="*/ 492 h 680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97" h="680">
                <a:moveTo>
                  <a:pt x="597" y="492"/>
                </a:moveTo>
                <a:cubicBezTo>
                  <a:pt x="597" y="503"/>
                  <a:pt x="589" y="517"/>
                  <a:pt x="579" y="522"/>
                </a:cubicBezTo>
                <a:quadBezTo>
                  <a:pt x="316" y="674"/>
                  <a:pt x="316" y="674"/>
                </a:quadBezTo>
                <a:cubicBezTo>
                  <a:pt x="307" y="680"/>
                  <a:pt x="291" y="680"/>
                  <a:pt x="281" y="674"/>
                </a:cubicBezTo>
                <a:quadBezTo>
                  <a:pt x="18" y="522"/>
                  <a:pt x="18" y="522"/>
                </a:quadBezTo>
                <a:cubicBezTo>
                  <a:pt x="8" y="517"/>
                  <a:pt x="0" y="503"/>
                  <a:pt x="0" y="492"/>
                </a:cubicBezTo>
                <a:quadBezTo>
                  <a:pt x="0" y="188"/>
                  <a:pt x="0" y="188"/>
                </a:quadBezTo>
                <a:cubicBezTo>
                  <a:pt x="0" y="177"/>
                  <a:pt x="8" y="163"/>
                  <a:pt x="18" y="158"/>
                </a:cubicBezTo>
                <a:quadBezTo>
                  <a:pt x="281" y="6"/>
                  <a:pt x="281" y="6"/>
                </a:quadBezTo>
                <a:cubicBezTo>
                  <a:pt x="291" y="0"/>
                  <a:pt x="307" y="0"/>
                  <a:pt x="316" y="6"/>
                </a:cubicBezTo>
                <a:quadBezTo>
                  <a:pt x="579" y="158"/>
                  <a:pt x="579" y="158"/>
                </a:quadBezTo>
                <a:cubicBezTo>
                  <a:pt x="589" y="163"/>
                  <a:pt x="597" y="177"/>
                  <a:pt x="597" y="188"/>
                </a:cubicBezTo>
                <a:quadBezTo>
                  <a:pt x="597" y="492"/>
                  <a:pt x="597" y="492"/>
                </a:quadBezTo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  <a:round/>
          </a:ln>
          <a:effectLst/>
        </p:spPr>
        <p:txBody>
          <a:bodyPr vert="horz" wrap="square" lIns="91440" tIns="45720" rIns="91440" bIns="45720" anchor="t" anchorCtr="0">
            <a:prstTxWarp prst="textNoShape">
              <a:avLst/>
            </a:prstTxWarp>
          </a:bodyPr>
          <a:lstStyle/>
          <a:p>
            <a:pPr marL="0" marR="0" lvl="0" indent="0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/>
            </a:pPr>
            <a:endParaRPr kumimoji="0" lang="id-ID" sz="1800" b="0" i="0" u="none" strike="noStrike" kern="0" cap="none" spc="0" normalizeH="0" baseline="0">
              <a:solidFill>
                <a:prstClr val="black"/>
              </a:solidFill>
              <a:effectLst/>
              <a:uLnTx/>
              <a:uFillTx/>
              <a:latin typeface="Futura Md BT"/>
            </a:endParaRPr>
          </a:p>
        </p:txBody>
      </p:sp>
      <p:sp>
        <p:nvSpPr>
          <p:cNvPr id="10" name="Freeform 14"/>
          <p:cNvSpPr/>
          <p:nvPr/>
        </p:nvSpPr>
        <p:spPr>
          <a:xfrm>
            <a:off x="7548941" y="2802731"/>
            <a:ext cx="1497013" cy="1709738"/>
          </a:xfrm>
          <a:custGeom>
            <a:avLst/>
            <a:gdLst>
              <a:gd name="T0" fmla="*/ 596 w 596"/>
              <a:gd name="T1" fmla="*/ 492 h 680"/>
              <a:gd name="T2" fmla="*/ 579 w 596"/>
              <a:gd name="T3" fmla="*/ 522 h 680"/>
              <a:gd name="T4" fmla="*/ 315 w 596"/>
              <a:gd name="T5" fmla="*/ 674 h 680"/>
              <a:gd name="T6" fmla="*/ 280 w 596"/>
              <a:gd name="T7" fmla="*/ 674 h 680"/>
              <a:gd name="T8" fmla="*/ 17 w 596"/>
              <a:gd name="T9" fmla="*/ 522 h 680"/>
              <a:gd name="T10" fmla="*/ 0 w 596"/>
              <a:gd name="T11" fmla="*/ 492 h 680"/>
              <a:gd name="T12" fmla="*/ 0 w 596"/>
              <a:gd name="T13" fmla="*/ 188 h 680"/>
              <a:gd name="T14" fmla="*/ 17 w 596"/>
              <a:gd name="T15" fmla="*/ 158 h 680"/>
              <a:gd name="T16" fmla="*/ 280 w 596"/>
              <a:gd name="T17" fmla="*/ 6 h 680"/>
              <a:gd name="T18" fmla="*/ 315 w 596"/>
              <a:gd name="T19" fmla="*/ 6 h 680"/>
              <a:gd name="T20" fmla="*/ 579 w 596"/>
              <a:gd name="T21" fmla="*/ 158 h 680"/>
              <a:gd name="T22" fmla="*/ 596 w 596"/>
              <a:gd name="T23" fmla="*/ 188 h 680"/>
              <a:gd name="T24" fmla="*/ 596 w 596"/>
              <a:gd name="T25" fmla="*/ 492 h 680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96" h="680">
                <a:moveTo>
                  <a:pt x="596" y="492"/>
                </a:moveTo>
                <a:cubicBezTo>
                  <a:pt x="596" y="503"/>
                  <a:pt x="588" y="517"/>
                  <a:pt x="579" y="522"/>
                </a:cubicBezTo>
                <a:quadBezTo>
                  <a:pt x="315" y="674"/>
                  <a:pt x="315" y="674"/>
                </a:quadBezTo>
                <a:cubicBezTo>
                  <a:pt x="306" y="680"/>
                  <a:pt x="290" y="680"/>
                  <a:pt x="280" y="674"/>
                </a:cubicBezTo>
                <a:quadBezTo>
                  <a:pt x="17" y="522"/>
                  <a:pt x="17" y="522"/>
                </a:quadBezTo>
                <a:cubicBezTo>
                  <a:pt x="8" y="517"/>
                  <a:pt x="0" y="503"/>
                  <a:pt x="0" y="492"/>
                </a:cubicBezTo>
                <a:quadBezTo>
                  <a:pt x="0" y="188"/>
                  <a:pt x="0" y="188"/>
                </a:quadBezTo>
                <a:cubicBezTo>
                  <a:pt x="0" y="177"/>
                  <a:pt x="8" y="163"/>
                  <a:pt x="17" y="158"/>
                </a:cubicBezTo>
                <a:quadBezTo>
                  <a:pt x="280" y="6"/>
                  <a:pt x="280" y="6"/>
                </a:quadBezTo>
                <a:cubicBezTo>
                  <a:pt x="290" y="0"/>
                  <a:pt x="306" y="0"/>
                  <a:pt x="315" y="6"/>
                </a:cubicBezTo>
                <a:quadBezTo>
                  <a:pt x="579" y="158"/>
                  <a:pt x="579" y="158"/>
                </a:quadBezTo>
                <a:cubicBezTo>
                  <a:pt x="588" y="163"/>
                  <a:pt x="596" y="177"/>
                  <a:pt x="596" y="188"/>
                </a:cubicBezTo>
                <a:quadBezTo>
                  <a:pt x="596" y="492"/>
                  <a:pt x="596" y="492"/>
                </a:quadBezTo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  <a:round/>
          </a:ln>
          <a:effectLst/>
        </p:spPr>
        <p:txBody>
          <a:bodyPr vert="horz" wrap="square" lIns="91440" tIns="45720" rIns="91440" bIns="45720" anchor="t" anchorCtr="0">
            <a:prstTxWarp prst="textNoShape">
              <a:avLst/>
            </a:prstTxWarp>
          </a:bodyPr>
          <a:lstStyle/>
          <a:p>
            <a:pPr marL="0" marR="0" lvl="0" indent="0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/>
            </a:pPr>
            <a:endParaRPr kumimoji="0" lang="id-ID" sz="1800" b="0" i="0" u="none" strike="noStrike" kern="0" cap="none" spc="0" normalizeH="0" baseline="0">
              <a:solidFill>
                <a:prstClr val="black"/>
              </a:solidFill>
              <a:effectLst/>
              <a:uLnTx/>
              <a:uFillTx/>
              <a:latin typeface="Futura Md BT"/>
            </a:endParaRPr>
          </a:p>
        </p:txBody>
      </p:sp>
      <p:sp>
        <p:nvSpPr>
          <p:cNvPr id="11" name="Freeform 17"/>
          <p:cNvSpPr/>
          <p:nvPr/>
        </p:nvSpPr>
        <p:spPr>
          <a:xfrm>
            <a:off x="5420103" y="2802731"/>
            <a:ext cx="1497013" cy="1709738"/>
          </a:xfrm>
          <a:custGeom>
            <a:avLst/>
            <a:gdLst>
              <a:gd name="T0" fmla="*/ 596 w 596"/>
              <a:gd name="T1" fmla="*/ 492 h 680"/>
              <a:gd name="T2" fmla="*/ 579 w 596"/>
              <a:gd name="T3" fmla="*/ 522 h 680"/>
              <a:gd name="T4" fmla="*/ 315 w 596"/>
              <a:gd name="T5" fmla="*/ 674 h 680"/>
              <a:gd name="T6" fmla="*/ 281 w 596"/>
              <a:gd name="T7" fmla="*/ 674 h 680"/>
              <a:gd name="T8" fmla="*/ 17 w 596"/>
              <a:gd name="T9" fmla="*/ 522 h 680"/>
              <a:gd name="T10" fmla="*/ 0 w 596"/>
              <a:gd name="T11" fmla="*/ 492 h 680"/>
              <a:gd name="T12" fmla="*/ 0 w 596"/>
              <a:gd name="T13" fmla="*/ 188 h 680"/>
              <a:gd name="T14" fmla="*/ 17 w 596"/>
              <a:gd name="T15" fmla="*/ 158 h 680"/>
              <a:gd name="T16" fmla="*/ 281 w 596"/>
              <a:gd name="T17" fmla="*/ 6 h 680"/>
              <a:gd name="T18" fmla="*/ 315 w 596"/>
              <a:gd name="T19" fmla="*/ 6 h 680"/>
              <a:gd name="T20" fmla="*/ 579 w 596"/>
              <a:gd name="T21" fmla="*/ 158 h 680"/>
              <a:gd name="T22" fmla="*/ 596 w 596"/>
              <a:gd name="T23" fmla="*/ 188 h 680"/>
              <a:gd name="T24" fmla="*/ 596 w 596"/>
              <a:gd name="T25" fmla="*/ 492 h 680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96" h="680">
                <a:moveTo>
                  <a:pt x="596" y="492"/>
                </a:moveTo>
                <a:cubicBezTo>
                  <a:pt x="596" y="503"/>
                  <a:pt x="588" y="517"/>
                  <a:pt x="579" y="522"/>
                </a:cubicBezTo>
                <a:quadBezTo>
                  <a:pt x="315" y="674"/>
                  <a:pt x="315" y="674"/>
                </a:quadBezTo>
                <a:cubicBezTo>
                  <a:pt x="306" y="680"/>
                  <a:pt x="290" y="680"/>
                  <a:pt x="281" y="674"/>
                </a:cubicBezTo>
                <a:quadBezTo>
                  <a:pt x="17" y="522"/>
                  <a:pt x="17" y="522"/>
                </a:quadBezTo>
                <a:cubicBezTo>
                  <a:pt x="8" y="517"/>
                  <a:pt x="0" y="503"/>
                  <a:pt x="0" y="492"/>
                </a:cubicBezTo>
                <a:quadBezTo>
                  <a:pt x="0" y="188"/>
                  <a:pt x="0" y="188"/>
                </a:quadBezTo>
                <a:cubicBezTo>
                  <a:pt x="0" y="177"/>
                  <a:pt x="8" y="163"/>
                  <a:pt x="17" y="158"/>
                </a:cubicBezTo>
                <a:quadBezTo>
                  <a:pt x="281" y="6"/>
                  <a:pt x="281" y="6"/>
                </a:quadBezTo>
                <a:cubicBezTo>
                  <a:pt x="290" y="0"/>
                  <a:pt x="306" y="0"/>
                  <a:pt x="315" y="6"/>
                </a:cubicBezTo>
                <a:quadBezTo>
                  <a:pt x="579" y="158"/>
                  <a:pt x="579" y="158"/>
                </a:quadBezTo>
                <a:cubicBezTo>
                  <a:pt x="588" y="163"/>
                  <a:pt x="596" y="177"/>
                  <a:pt x="596" y="188"/>
                </a:cubicBezTo>
                <a:quadBezTo>
                  <a:pt x="596" y="492"/>
                  <a:pt x="596" y="492"/>
                </a:quadBezTo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  <a:round/>
          </a:ln>
          <a:effectLst/>
        </p:spPr>
        <p:txBody>
          <a:bodyPr vert="horz" wrap="square" lIns="91440" tIns="45720" rIns="91440" bIns="45720" anchor="t" anchorCtr="0">
            <a:prstTxWarp prst="textNoShape">
              <a:avLst/>
            </a:prstTxWarp>
          </a:bodyPr>
          <a:lstStyle/>
          <a:p>
            <a:pPr marL="0" marR="0" lvl="0" indent="0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/>
            </a:pPr>
            <a:endParaRPr kumimoji="0" lang="id-ID" sz="1800" b="0" i="0" u="none" strike="noStrike" kern="0" cap="none" spc="0" normalizeH="0" baseline="0">
              <a:solidFill>
                <a:prstClr val="black"/>
              </a:solidFill>
              <a:effectLst/>
              <a:uLnTx/>
              <a:uFillTx/>
              <a:latin typeface="Futura Md BT"/>
            </a:endParaRPr>
          </a:p>
        </p:txBody>
      </p:sp>
      <p:sp>
        <p:nvSpPr>
          <p:cNvPr id="12" name="Freeform 20"/>
          <p:cNvSpPr/>
          <p:nvPr/>
        </p:nvSpPr>
        <p:spPr>
          <a:xfrm>
            <a:off x="3291266" y="2802731"/>
            <a:ext cx="1498600" cy="1709738"/>
          </a:xfrm>
          <a:custGeom>
            <a:avLst/>
            <a:gdLst>
              <a:gd name="T0" fmla="*/ 596 w 596"/>
              <a:gd name="T1" fmla="*/ 492 h 680"/>
              <a:gd name="T2" fmla="*/ 579 w 596"/>
              <a:gd name="T3" fmla="*/ 522 h 680"/>
              <a:gd name="T4" fmla="*/ 316 w 596"/>
              <a:gd name="T5" fmla="*/ 674 h 680"/>
              <a:gd name="T6" fmla="*/ 281 w 596"/>
              <a:gd name="T7" fmla="*/ 674 h 680"/>
              <a:gd name="T8" fmla="*/ 17 w 596"/>
              <a:gd name="T9" fmla="*/ 522 h 680"/>
              <a:gd name="T10" fmla="*/ 0 w 596"/>
              <a:gd name="T11" fmla="*/ 492 h 680"/>
              <a:gd name="T12" fmla="*/ 0 w 596"/>
              <a:gd name="T13" fmla="*/ 188 h 680"/>
              <a:gd name="T14" fmla="*/ 17 w 596"/>
              <a:gd name="T15" fmla="*/ 158 h 680"/>
              <a:gd name="T16" fmla="*/ 281 w 596"/>
              <a:gd name="T17" fmla="*/ 6 h 680"/>
              <a:gd name="T18" fmla="*/ 316 w 596"/>
              <a:gd name="T19" fmla="*/ 6 h 680"/>
              <a:gd name="T20" fmla="*/ 579 w 596"/>
              <a:gd name="T21" fmla="*/ 158 h 680"/>
              <a:gd name="T22" fmla="*/ 596 w 596"/>
              <a:gd name="T23" fmla="*/ 188 h 680"/>
              <a:gd name="T24" fmla="*/ 596 w 596"/>
              <a:gd name="T25" fmla="*/ 492 h 680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96" h="680">
                <a:moveTo>
                  <a:pt x="596" y="492"/>
                </a:moveTo>
                <a:cubicBezTo>
                  <a:pt x="596" y="503"/>
                  <a:pt x="588" y="517"/>
                  <a:pt x="579" y="522"/>
                </a:cubicBezTo>
                <a:quadBezTo>
                  <a:pt x="316" y="674"/>
                  <a:pt x="316" y="674"/>
                </a:quadBezTo>
                <a:cubicBezTo>
                  <a:pt x="306" y="680"/>
                  <a:pt x="290" y="680"/>
                  <a:pt x="281" y="674"/>
                </a:cubicBezTo>
                <a:quadBezTo>
                  <a:pt x="17" y="522"/>
                  <a:pt x="17" y="522"/>
                </a:quadBezTo>
                <a:cubicBezTo>
                  <a:pt x="8" y="517"/>
                  <a:pt x="0" y="503"/>
                  <a:pt x="0" y="492"/>
                </a:cubicBezTo>
                <a:quadBezTo>
                  <a:pt x="0" y="188"/>
                  <a:pt x="0" y="188"/>
                </a:quadBezTo>
                <a:cubicBezTo>
                  <a:pt x="0" y="177"/>
                  <a:pt x="8" y="163"/>
                  <a:pt x="17" y="158"/>
                </a:cubicBezTo>
                <a:quadBezTo>
                  <a:pt x="281" y="6"/>
                  <a:pt x="281" y="6"/>
                </a:quadBezTo>
                <a:cubicBezTo>
                  <a:pt x="290" y="0"/>
                  <a:pt x="306" y="0"/>
                  <a:pt x="316" y="6"/>
                </a:cubicBezTo>
                <a:quadBezTo>
                  <a:pt x="579" y="158"/>
                  <a:pt x="579" y="158"/>
                </a:quadBezTo>
                <a:cubicBezTo>
                  <a:pt x="588" y="163"/>
                  <a:pt x="596" y="177"/>
                  <a:pt x="596" y="188"/>
                </a:cubicBezTo>
                <a:quadBezTo>
                  <a:pt x="596" y="492"/>
                  <a:pt x="596" y="492"/>
                </a:quadBezTo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  <a:round/>
          </a:ln>
          <a:effectLst/>
        </p:spPr>
        <p:txBody>
          <a:bodyPr vert="horz" wrap="square" lIns="91440" tIns="45720" rIns="91440" bIns="45720" anchor="t" anchorCtr="0">
            <a:prstTxWarp prst="textNoShape">
              <a:avLst/>
            </a:prstTxWarp>
          </a:bodyPr>
          <a:lstStyle/>
          <a:p>
            <a:pPr marL="0" marR="0" lvl="0" indent="0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/>
            </a:pPr>
            <a:endParaRPr kumimoji="0" lang="id-ID" sz="1800" b="0" i="0" u="none" strike="noStrike" kern="0" cap="none" spc="0" normalizeH="0" baseline="0">
              <a:solidFill>
                <a:prstClr val="black"/>
              </a:solidFill>
              <a:effectLst/>
              <a:uLnTx/>
              <a:uFillTx/>
              <a:latin typeface="Futura Md BT"/>
            </a:endParaRPr>
          </a:p>
        </p:txBody>
      </p:sp>
      <p:sp>
        <p:nvSpPr>
          <p:cNvPr id="13" name="Freeform 23"/>
          <p:cNvSpPr/>
          <p:nvPr/>
        </p:nvSpPr>
        <p:spPr>
          <a:xfrm>
            <a:off x="1164016" y="2802731"/>
            <a:ext cx="1497013" cy="1709738"/>
          </a:xfrm>
          <a:custGeom>
            <a:avLst/>
            <a:gdLst>
              <a:gd name="T0" fmla="*/ 596 w 596"/>
              <a:gd name="T1" fmla="*/ 492 h 680"/>
              <a:gd name="T2" fmla="*/ 579 w 596"/>
              <a:gd name="T3" fmla="*/ 522 h 680"/>
              <a:gd name="T4" fmla="*/ 316 w 596"/>
              <a:gd name="T5" fmla="*/ 674 h 680"/>
              <a:gd name="T6" fmla="*/ 281 w 596"/>
              <a:gd name="T7" fmla="*/ 674 h 680"/>
              <a:gd name="T8" fmla="*/ 18 w 596"/>
              <a:gd name="T9" fmla="*/ 522 h 680"/>
              <a:gd name="T10" fmla="*/ 0 w 596"/>
              <a:gd name="T11" fmla="*/ 492 h 680"/>
              <a:gd name="T12" fmla="*/ 0 w 596"/>
              <a:gd name="T13" fmla="*/ 188 h 680"/>
              <a:gd name="T14" fmla="*/ 18 w 596"/>
              <a:gd name="T15" fmla="*/ 158 h 680"/>
              <a:gd name="T16" fmla="*/ 281 w 596"/>
              <a:gd name="T17" fmla="*/ 6 h 680"/>
              <a:gd name="T18" fmla="*/ 316 w 596"/>
              <a:gd name="T19" fmla="*/ 6 h 680"/>
              <a:gd name="T20" fmla="*/ 579 w 596"/>
              <a:gd name="T21" fmla="*/ 158 h 680"/>
              <a:gd name="T22" fmla="*/ 596 w 596"/>
              <a:gd name="T23" fmla="*/ 188 h 680"/>
              <a:gd name="T24" fmla="*/ 596 w 596"/>
              <a:gd name="T25" fmla="*/ 492 h 680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96" h="680">
                <a:moveTo>
                  <a:pt x="596" y="492"/>
                </a:moveTo>
                <a:cubicBezTo>
                  <a:pt x="596" y="503"/>
                  <a:pt x="589" y="517"/>
                  <a:pt x="579" y="522"/>
                </a:cubicBezTo>
                <a:quadBezTo>
                  <a:pt x="316" y="674"/>
                  <a:pt x="316" y="674"/>
                </a:quadBezTo>
                <a:cubicBezTo>
                  <a:pt x="306" y="680"/>
                  <a:pt x="290" y="680"/>
                  <a:pt x="281" y="674"/>
                </a:cubicBezTo>
                <a:quadBezTo>
                  <a:pt x="18" y="522"/>
                  <a:pt x="18" y="522"/>
                </a:quadBezTo>
                <a:cubicBezTo>
                  <a:pt x="8" y="517"/>
                  <a:pt x="0" y="503"/>
                  <a:pt x="0" y="492"/>
                </a:cubicBezTo>
                <a:quadBezTo>
                  <a:pt x="0" y="188"/>
                  <a:pt x="0" y="188"/>
                </a:quadBezTo>
                <a:cubicBezTo>
                  <a:pt x="0" y="177"/>
                  <a:pt x="8" y="163"/>
                  <a:pt x="18" y="158"/>
                </a:cubicBezTo>
                <a:quadBezTo>
                  <a:pt x="281" y="6"/>
                  <a:pt x="281" y="6"/>
                </a:quadBezTo>
                <a:cubicBezTo>
                  <a:pt x="290" y="0"/>
                  <a:pt x="306" y="0"/>
                  <a:pt x="316" y="6"/>
                </a:cubicBezTo>
                <a:quadBezTo>
                  <a:pt x="579" y="158"/>
                  <a:pt x="579" y="158"/>
                </a:quadBezTo>
                <a:cubicBezTo>
                  <a:pt x="589" y="163"/>
                  <a:pt x="596" y="177"/>
                  <a:pt x="596" y="188"/>
                </a:cubicBezTo>
                <a:quadBezTo>
                  <a:pt x="596" y="492"/>
                  <a:pt x="596" y="492"/>
                </a:quadBezTo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  <a:round/>
          </a:ln>
          <a:effectLst/>
        </p:spPr>
        <p:txBody>
          <a:bodyPr vert="horz" wrap="square" lIns="91440" tIns="45720" rIns="91440" bIns="45720" anchor="t" anchorCtr="0">
            <a:prstTxWarp prst="textNoShape">
              <a:avLst/>
            </a:prstTxWarp>
          </a:bodyPr>
          <a:lstStyle/>
          <a:p>
            <a:pPr marL="0" marR="0" lvl="0" indent="0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/>
            </a:pPr>
            <a:endParaRPr kumimoji="0" lang="id-ID" sz="1800" b="0" i="0" u="none" strike="noStrike" kern="0" cap="none" spc="0" normalizeH="0" baseline="0">
              <a:solidFill>
                <a:prstClr val="black"/>
              </a:solidFill>
              <a:effectLst/>
              <a:uLnTx/>
              <a:uFillTx/>
              <a:latin typeface="Futura Md BT"/>
            </a:endParaRPr>
          </a:p>
        </p:txBody>
      </p:sp>
      <p:grpSp>
        <p:nvGrpSpPr>
          <p:cNvPr id="14" name="Group 109"/>
          <p:cNvGrpSpPr/>
          <p:nvPr/>
        </p:nvGrpSpPr>
        <p:grpSpPr>
          <a:xfrm rot="0">
            <a:off x="1675191" y="2219325"/>
            <a:ext cx="474662" cy="474662"/>
            <a:chOff x="1742661" y="2224089"/>
            <a:chExt cx="339722" cy="339722"/>
          </a:xfrm>
          <a:effectLst/>
        </p:grpSpPr>
        <p:sp>
          <p:nvSpPr>
            <p:cNvPr id="15" name="Freeform: Shape 108"/>
            <p:cNvSpPr/>
            <p:nvPr/>
          </p:nvSpPr>
          <p:spPr>
            <a:xfrm>
              <a:off x="1742661" y="2224089"/>
              <a:ext cx="339722" cy="339722"/>
            </a:xfrm>
            <a:custGeom>
              <a:avLst/>
              <a:gdLst>
                <a:gd name="connsiteX0" fmla="*/ 219075 w 219074"/>
                <a:gd name="connsiteY0" fmla="*/ 109538 h 219075"/>
                <a:gd name="connsiteX1" fmla="*/ 109538 w 219074"/>
                <a:gd name="connsiteY1" fmla="*/ 219075 h 219075"/>
                <a:gd name="connsiteX2" fmla="*/ 0 w 219074"/>
                <a:gd name="connsiteY2" fmla="*/ 109538 h 219075"/>
                <a:gd name="connsiteX3" fmla="*/ 109538 w 219074"/>
                <a:gd name="connsiteY3" fmla="*/ 0 h 219075"/>
                <a:gd name="connsiteX4" fmla="*/ 219075 w 219074"/>
                <a:gd name="connsiteY4" fmla="*/ 109538 h 219075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9074" h="219075">
                  <a:moveTo>
                    <a:pt x="219075" y="109538"/>
                  </a:moveTo>
                  <a:cubicBezTo>
                    <a:pt x="219075" y="170033"/>
                    <a:pt x="170033" y="219075"/>
                    <a:pt x="109538" y="219075"/>
                  </a:cubicBezTo>
                  <a:cubicBezTo>
                    <a:pt x="49042" y="219075"/>
                    <a:pt x="0" y="170033"/>
                    <a:pt x="0" y="109538"/>
                  </a:cubicBezTo>
                  <a:cubicBezTo>
                    <a:pt x="0" y="49042"/>
                    <a:pt x="49042" y="0"/>
                    <a:pt x="109538" y="0"/>
                  </a:cubicBezTo>
                  <a:cubicBezTo>
                    <a:pt x="170033" y="0"/>
                    <a:pt x="219075" y="49042"/>
                    <a:pt x="219075" y="109538"/>
                  </a:cubicBezTo>
                  <a:close/>
                </a:path>
              </a:pathLst>
            </a:custGeom>
            <a:solidFill>
              <a:srgbClr val="015a6b"/>
            </a:solidFill>
            <a:ln w="9525" cap="flat">
              <a:noFill/>
              <a:prstDash val="solid"/>
              <a:miter/>
            </a:ln>
            <a:effectLst/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  <p:sp>
          <p:nvSpPr>
            <p:cNvPr id="16" name="Freeform: Shape 107"/>
            <p:cNvSpPr/>
            <p:nvPr/>
          </p:nvSpPr>
          <p:spPr>
            <a:xfrm>
              <a:off x="1847166" y="2336899"/>
              <a:ext cx="117366" cy="113936"/>
            </a:xfrm>
            <a:custGeom>
              <a:avLst/>
              <a:gdLst>
                <a:gd name="connsiteX0" fmla="*/ 95 w 134457"/>
                <a:gd name="connsiteY0" fmla="*/ 60556 h 130529"/>
                <a:gd name="connsiteX1" fmla="*/ 9620 w 134457"/>
                <a:gd name="connsiteY1" fmla="*/ 51031 h 130529"/>
                <a:gd name="connsiteX2" fmla="*/ 81344 w 134457"/>
                <a:gd name="connsiteY2" fmla="*/ 51031 h 130529"/>
                <a:gd name="connsiteX3" fmla="*/ 84392 w 134457"/>
                <a:gd name="connsiteY3" fmla="*/ 43982 h 130529"/>
                <a:gd name="connsiteX4" fmla="*/ 61817 w 134457"/>
                <a:gd name="connsiteY4" fmla="*/ 19312 h 130529"/>
                <a:gd name="connsiteX5" fmla="*/ 62103 w 134457"/>
                <a:gd name="connsiteY5" fmla="*/ 5596 h 130529"/>
                <a:gd name="connsiteX6" fmla="*/ 64960 w 134457"/>
                <a:gd name="connsiteY6" fmla="*/ 2739 h 130529"/>
                <a:gd name="connsiteX7" fmla="*/ 78296 w 134457"/>
                <a:gd name="connsiteY7" fmla="*/ 2834 h 130529"/>
                <a:gd name="connsiteX8" fmla="*/ 131731 w 134457"/>
                <a:gd name="connsiteY8" fmla="*/ 58365 h 130529"/>
                <a:gd name="connsiteX9" fmla="*/ 131826 w 134457"/>
                <a:gd name="connsiteY9" fmla="*/ 72176 h 130529"/>
                <a:gd name="connsiteX10" fmla="*/ 79248 w 134457"/>
                <a:gd name="connsiteY10" fmla="*/ 127612 h 130529"/>
                <a:gd name="connsiteX11" fmla="*/ 65913 w 134457"/>
                <a:gd name="connsiteY11" fmla="*/ 127802 h 130529"/>
                <a:gd name="connsiteX12" fmla="*/ 63055 w 134457"/>
                <a:gd name="connsiteY12" fmla="*/ 124945 h 130529"/>
                <a:gd name="connsiteX13" fmla="*/ 62675 w 134457"/>
                <a:gd name="connsiteY13" fmla="*/ 111133 h 130529"/>
                <a:gd name="connsiteX14" fmla="*/ 84582 w 134457"/>
                <a:gd name="connsiteY14" fmla="*/ 86654 h 130529"/>
                <a:gd name="connsiteX15" fmla="*/ 81439 w 134457"/>
                <a:gd name="connsiteY15" fmla="*/ 79510 h 130529"/>
                <a:gd name="connsiteX16" fmla="*/ 9525 w 134457"/>
                <a:gd name="connsiteY16" fmla="*/ 79510 h 130529"/>
                <a:gd name="connsiteX17" fmla="*/ 0 w 134457"/>
                <a:gd name="connsiteY17" fmla="*/ 69985 h 130529"/>
                <a:gd name="connsiteX18" fmla="*/ 0 w 134457"/>
                <a:gd name="connsiteY18" fmla="*/ 60556 h 130529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34457" h="130529">
                  <a:moveTo>
                    <a:pt x="95" y="60556"/>
                  </a:moveTo>
                  <a:cubicBezTo>
                    <a:pt x="95" y="55317"/>
                    <a:pt x="4381" y="51031"/>
                    <a:pt x="9620" y="51031"/>
                  </a:cubicBezTo>
                  <a:lnTo>
                    <a:pt x="81344" y="51031"/>
                  </a:lnTo>
                  <a:cubicBezTo>
                    <a:pt x="86582" y="51031"/>
                    <a:pt x="88011" y="47887"/>
                    <a:pt x="84392" y="43982"/>
                  </a:cubicBezTo>
                  <a:lnTo>
                    <a:pt x="61817" y="19312"/>
                  </a:lnTo>
                  <a:cubicBezTo>
                    <a:pt x="58293" y="15407"/>
                    <a:pt x="58388" y="9216"/>
                    <a:pt x="62103" y="5596"/>
                  </a:cubicBezTo>
                  <a:lnTo>
                    <a:pt x="64960" y="2739"/>
                  </a:lnTo>
                  <a:cubicBezTo>
                    <a:pt x="68675" y="-976"/>
                    <a:pt x="74676" y="-881"/>
                    <a:pt x="78296" y="2834"/>
                  </a:cubicBezTo>
                  <a:lnTo>
                    <a:pt x="131731" y="58365"/>
                  </a:lnTo>
                  <a:cubicBezTo>
                    <a:pt x="135350" y="62175"/>
                    <a:pt x="135350" y="68366"/>
                    <a:pt x="131826" y="72176"/>
                  </a:cubicBezTo>
                  <a:lnTo>
                    <a:pt x="79248" y="127612"/>
                  </a:lnTo>
                  <a:cubicBezTo>
                    <a:pt x="75628" y="131422"/>
                    <a:pt x="69628" y="131517"/>
                    <a:pt x="65913" y="127802"/>
                  </a:cubicBezTo>
                  <a:lnTo>
                    <a:pt x="63055" y="124945"/>
                  </a:lnTo>
                  <a:cubicBezTo>
                    <a:pt x="59341" y="121230"/>
                    <a:pt x="59150" y="115039"/>
                    <a:pt x="62675" y="111133"/>
                  </a:cubicBezTo>
                  <a:lnTo>
                    <a:pt x="84582" y="86654"/>
                  </a:lnTo>
                  <a:cubicBezTo>
                    <a:pt x="88106" y="82749"/>
                    <a:pt x="86677" y="79510"/>
                    <a:pt x="81439" y="79510"/>
                  </a:cubicBezTo>
                  <a:lnTo>
                    <a:pt x="9525" y="79510"/>
                  </a:lnTo>
                  <a:cubicBezTo>
                    <a:pt x="4286" y="79510"/>
                    <a:pt x="0" y="75224"/>
                    <a:pt x="0" y="69985"/>
                  </a:cubicBezTo>
                  <a:lnTo>
                    <a:pt x="0" y="60556"/>
                  </a:lnTo>
                  <a:close/>
                </a:path>
              </a:pathLst>
            </a:custGeom>
            <a:solidFill>
              <a:schemeClr val="bg1"/>
            </a:solidFill>
            <a:ln w="9525" cap="sq">
              <a:noFill/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</p:grpSp>
      <p:grpSp>
        <p:nvGrpSpPr>
          <p:cNvPr id="17" name="Group 116"/>
          <p:cNvGrpSpPr/>
          <p:nvPr/>
        </p:nvGrpSpPr>
        <p:grpSpPr>
          <a:xfrm rot="0">
            <a:off x="5931278" y="2219325"/>
            <a:ext cx="474662" cy="474662"/>
            <a:chOff x="1742661" y="2224089"/>
            <a:chExt cx="339722" cy="339722"/>
          </a:xfrm>
          <a:effectLst/>
        </p:grpSpPr>
        <p:sp>
          <p:nvSpPr>
            <p:cNvPr id="18" name="Freeform: Shape 117"/>
            <p:cNvSpPr/>
            <p:nvPr/>
          </p:nvSpPr>
          <p:spPr>
            <a:xfrm>
              <a:off x="1742661" y="2224089"/>
              <a:ext cx="339722" cy="339722"/>
            </a:xfrm>
            <a:custGeom>
              <a:avLst/>
              <a:gdLst>
                <a:gd name="connsiteX0" fmla="*/ 219075 w 219074"/>
                <a:gd name="connsiteY0" fmla="*/ 109538 h 219075"/>
                <a:gd name="connsiteX1" fmla="*/ 109538 w 219074"/>
                <a:gd name="connsiteY1" fmla="*/ 219075 h 219075"/>
                <a:gd name="connsiteX2" fmla="*/ 0 w 219074"/>
                <a:gd name="connsiteY2" fmla="*/ 109538 h 219075"/>
                <a:gd name="connsiteX3" fmla="*/ 109538 w 219074"/>
                <a:gd name="connsiteY3" fmla="*/ 0 h 219075"/>
                <a:gd name="connsiteX4" fmla="*/ 219075 w 219074"/>
                <a:gd name="connsiteY4" fmla="*/ 109538 h 219075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9074" h="219075">
                  <a:moveTo>
                    <a:pt x="219075" y="109538"/>
                  </a:moveTo>
                  <a:cubicBezTo>
                    <a:pt x="219075" y="170033"/>
                    <a:pt x="170033" y="219075"/>
                    <a:pt x="109538" y="219075"/>
                  </a:cubicBezTo>
                  <a:cubicBezTo>
                    <a:pt x="49042" y="219075"/>
                    <a:pt x="0" y="170033"/>
                    <a:pt x="0" y="109538"/>
                  </a:cubicBezTo>
                  <a:cubicBezTo>
                    <a:pt x="0" y="49042"/>
                    <a:pt x="49042" y="0"/>
                    <a:pt x="109538" y="0"/>
                  </a:cubicBezTo>
                  <a:cubicBezTo>
                    <a:pt x="170033" y="0"/>
                    <a:pt x="219075" y="49042"/>
                    <a:pt x="219075" y="109538"/>
                  </a:cubicBezTo>
                  <a:close/>
                </a:path>
              </a:pathLst>
            </a:custGeom>
            <a:solidFill>
              <a:srgbClr val="015a6b"/>
            </a:solidFill>
            <a:ln w="9525" cap="flat">
              <a:noFill/>
              <a:prstDash val="solid"/>
              <a:miter/>
            </a:ln>
            <a:effectLst/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  <p:sp>
          <p:nvSpPr>
            <p:cNvPr id="19" name="Freeform: Shape 118"/>
            <p:cNvSpPr/>
            <p:nvPr/>
          </p:nvSpPr>
          <p:spPr>
            <a:xfrm>
              <a:off x="1847166" y="2336899"/>
              <a:ext cx="117366" cy="113936"/>
            </a:xfrm>
            <a:custGeom>
              <a:avLst/>
              <a:gdLst>
                <a:gd name="connsiteX0" fmla="*/ 95 w 134457"/>
                <a:gd name="connsiteY0" fmla="*/ 60556 h 130529"/>
                <a:gd name="connsiteX1" fmla="*/ 9620 w 134457"/>
                <a:gd name="connsiteY1" fmla="*/ 51031 h 130529"/>
                <a:gd name="connsiteX2" fmla="*/ 81344 w 134457"/>
                <a:gd name="connsiteY2" fmla="*/ 51031 h 130529"/>
                <a:gd name="connsiteX3" fmla="*/ 84392 w 134457"/>
                <a:gd name="connsiteY3" fmla="*/ 43982 h 130529"/>
                <a:gd name="connsiteX4" fmla="*/ 61817 w 134457"/>
                <a:gd name="connsiteY4" fmla="*/ 19312 h 130529"/>
                <a:gd name="connsiteX5" fmla="*/ 62103 w 134457"/>
                <a:gd name="connsiteY5" fmla="*/ 5596 h 130529"/>
                <a:gd name="connsiteX6" fmla="*/ 64960 w 134457"/>
                <a:gd name="connsiteY6" fmla="*/ 2739 h 130529"/>
                <a:gd name="connsiteX7" fmla="*/ 78296 w 134457"/>
                <a:gd name="connsiteY7" fmla="*/ 2834 h 130529"/>
                <a:gd name="connsiteX8" fmla="*/ 131731 w 134457"/>
                <a:gd name="connsiteY8" fmla="*/ 58365 h 130529"/>
                <a:gd name="connsiteX9" fmla="*/ 131826 w 134457"/>
                <a:gd name="connsiteY9" fmla="*/ 72176 h 130529"/>
                <a:gd name="connsiteX10" fmla="*/ 79248 w 134457"/>
                <a:gd name="connsiteY10" fmla="*/ 127612 h 130529"/>
                <a:gd name="connsiteX11" fmla="*/ 65913 w 134457"/>
                <a:gd name="connsiteY11" fmla="*/ 127802 h 130529"/>
                <a:gd name="connsiteX12" fmla="*/ 63055 w 134457"/>
                <a:gd name="connsiteY12" fmla="*/ 124945 h 130529"/>
                <a:gd name="connsiteX13" fmla="*/ 62675 w 134457"/>
                <a:gd name="connsiteY13" fmla="*/ 111133 h 130529"/>
                <a:gd name="connsiteX14" fmla="*/ 84582 w 134457"/>
                <a:gd name="connsiteY14" fmla="*/ 86654 h 130529"/>
                <a:gd name="connsiteX15" fmla="*/ 81439 w 134457"/>
                <a:gd name="connsiteY15" fmla="*/ 79510 h 130529"/>
                <a:gd name="connsiteX16" fmla="*/ 9525 w 134457"/>
                <a:gd name="connsiteY16" fmla="*/ 79510 h 130529"/>
                <a:gd name="connsiteX17" fmla="*/ 0 w 134457"/>
                <a:gd name="connsiteY17" fmla="*/ 69985 h 130529"/>
                <a:gd name="connsiteX18" fmla="*/ 0 w 134457"/>
                <a:gd name="connsiteY18" fmla="*/ 60556 h 130529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34457" h="130529">
                  <a:moveTo>
                    <a:pt x="95" y="60556"/>
                  </a:moveTo>
                  <a:cubicBezTo>
                    <a:pt x="95" y="55317"/>
                    <a:pt x="4381" y="51031"/>
                    <a:pt x="9620" y="51031"/>
                  </a:cubicBezTo>
                  <a:lnTo>
                    <a:pt x="81344" y="51031"/>
                  </a:lnTo>
                  <a:cubicBezTo>
                    <a:pt x="86582" y="51031"/>
                    <a:pt x="88011" y="47887"/>
                    <a:pt x="84392" y="43982"/>
                  </a:cubicBezTo>
                  <a:lnTo>
                    <a:pt x="61817" y="19312"/>
                  </a:lnTo>
                  <a:cubicBezTo>
                    <a:pt x="58293" y="15407"/>
                    <a:pt x="58388" y="9216"/>
                    <a:pt x="62103" y="5596"/>
                  </a:cubicBezTo>
                  <a:lnTo>
                    <a:pt x="64960" y="2739"/>
                  </a:lnTo>
                  <a:cubicBezTo>
                    <a:pt x="68675" y="-976"/>
                    <a:pt x="74676" y="-881"/>
                    <a:pt x="78296" y="2834"/>
                  </a:cubicBezTo>
                  <a:lnTo>
                    <a:pt x="131731" y="58365"/>
                  </a:lnTo>
                  <a:cubicBezTo>
                    <a:pt x="135350" y="62175"/>
                    <a:pt x="135350" y="68366"/>
                    <a:pt x="131826" y="72176"/>
                  </a:cubicBezTo>
                  <a:lnTo>
                    <a:pt x="79248" y="127612"/>
                  </a:lnTo>
                  <a:cubicBezTo>
                    <a:pt x="75628" y="131422"/>
                    <a:pt x="69628" y="131517"/>
                    <a:pt x="65913" y="127802"/>
                  </a:cubicBezTo>
                  <a:lnTo>
                    <a:pt x="63055" y="124945"/>
                  </a:lnTo>
                  <a:cubicBezTo>
                    <a:pt x="59341" y="121230"/>
                    <a:pt x="59150" y="115039"/>
                    <a:pt x="62675" y="111133"/>
                  </a:cubicBezTo>
                  <a:lnTo>
                    <a:pt x="84582" y="86654"/>
                  </a:lnTo>
                  <a:cubicBezTo>
                    <a:pt x="88106" y="82749"/>
                    <a:pt x="86677" y="79510"/>
                    <a:pt x="81439" y="79510"/>
                  </a:cubicBezTo>
                  <a:lnTo>
                    <a:pt x="9525" y="79510"/>
                  </a:lnTo>
                  <a:cubicBezTo>
                    <a:pt x="4286" y="79510"/>
                    <a:pt x="0" y="75224"/>
                    <a:pt x="0" y="69985"/>
                  </a:cubicBezTo>
                  <a:lnTo>
                    <a:pt x="0" y="60556"/>
                  </a:lnTo>
                  <a:close/>
                </a:path>
              </a:pathLst>
            </a:custGeom>
            <a:solidFill>
              <a:schemeClr val="bg1"/>
            </a:solidFill>
            <a:ln w="9525" cap="sq">
              <a:noFill/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</p:grpSp>
      <p:grpSp>
        <p:nvGrpSpPr>
          <p:cNvPr id="20" name="Group 119"/>
          <p:cNvGrpSpPr/>
          <p:nvPr/>
        </p:nvGrpSpPr>
        <p:grpSpPr>
          <a:xfrm rot="0">
            <a:off x="10187366" y="2219325"/>
            <a:ext cx="474662" cy="474662"/>
            <a:chOff x="1742661" y="2224089"/>
            <a:chExt cx="339722" cy="339722"/>
          </a:xfrm>
          <a:effectLst/>
        </p:grpSpPr>
        <p:sp>
          <p:nvSpPr>
            <p:cNvPr id="21" name="Freeform: Shape 120"/>
            <p:cNvSpPr/>
            <p:nvPr/>
          </p:nvSpPr>
          <p:spPr>
            <a:xfrm>
              <a:off x="1742661" y="2224089"/>
              <a:ext cx="339722" cy="339722"/>
            </a:xfrm>
            <a:custGeom>
              <a:avLst/>
              <a:gdLst>
                <a:gd name="connsiteX0" fmla="*/ 219075 w 219074"/>
                <a:gd name="connsiteY0" fmla="*/ 109538 h 219075"/>
                <a:gd name="connsiteX1" fmla="*/ 109538 w 219074"/>
                <a:gd name="connsiteY1" fmla="*/ 219075 h 219075"/>
                <a:gd name="connsiteX2" fmla="*/ 0 w 219074"/>
                <a:gd name="connsiteY2" fmla="*/ 109538 h 219075"/>
                <a:gd name="connsiteX3" fmla="*/ 109538 w 219074"/>
                <a:gd name="connsiteY3" fmla="*/ 0 h 219075"/>
                <a:gd name="connsiteX4" fmla="*/ 219075 w 219074"/>
                <a:gd name="connsiteY4" fmla="*/ 109538 h 219075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9074" h="219075">
                  <a:moveTo>
                    <a:pt x="219075" y="109538"/>
                  </a:moveTo>
                  <a:cubicBezTo>
                    <a:pt x="219075" y="170033"/>
                    <a:pt x="170033" y="219075"/>
                    <a:pt x="109538" y="219075"/>
                  </a:cubicBezTo>
                  <a:cubicBezTo>
                    <a:pt x="49042" y="219075"/>
                    <a:pt x="0" y="170033"/>
                    <a:pt x="0" y="109538"/>
                  </a:cubicBezTo>
                  <a:cubicBezTo>
                    <a:pt x="0" y="49042"/>
                    <a:pt x="49042" y="0"/>
                    <a:pt x="109538" y="0"/>
                  </a:cubicBezTo>
                  <a:cubicBezTo>
                    <a:pt x="170033" y="0"/>
                    <a:pt x="219075" y="49042"/>
                    <a:pt x="219075" y="109538"/>
                  </a:cubicBezTo>
                  <a:close/>
                </a:path>
              </a:pathLst>
            </a:custGeom>
            <a:solidFill>
              <a:srgbClr val="015a6b"/>
            </a:solidFill>
            <a:ln w="9525" cap="flat">
              <a:noFill/>
              <a:prstDash val="solid"/>
              <a:miter/>
            </a:ln>
            <a:effectLst/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  <p:sp>
          <p:nvSpPr>
            <p:cNvPr id="22" name="Freeform: Shape 121"/>
            <p:cNvSpPr/>
            <p:nvPr/>
          </p:nvSpPr>
          <p:spPr>
            <a:xfrm>
              <a:off x="1847166" y="2336899"/>
              <a:ext cx="117366" cy="113936"/>
            </a:xfrm>
            <a:custGeom>
              <a:avLst/>
              <a:gdLst>
                <a:gd name="connsiteX0" fmla="*/ 95 w 134457"/>
                <a:gd name="connsiteY0" fmla="*/ 60556 h 130529"/>
                <a:gd name="connsiteX1" fmla="*/ 9620 w 134457"/>
                <a:gd name="connsiteY1" fmla="*/ 51031 h 130529"/>
                <a:gd name="connsiteX2" fmla="*/ 81344 w 134457"/>
                <a:gd name="connsiteY2" fmla="*/ 51031 h 130529"/>
                <a:gd name="connsiteX3" fmla="*/ 84392 w 134457"/>
                <a:gd name="connsiteY3" fmla="*/ 43982 h 130529"/>
                <a:gd name="connsiteX4" fmla="*/ 61817 w 134457"/>
                <a:gd name="connsiteY4" fmla="*/ 19312 h 130529"/>
                <a:gd name="connsiteX5" fmla="*/ 62103 w 134457"/>
                <a:gd name="connsiteY5" fmla="*/ 5596 h 130529"/>
                <a:gd name="connsiteX6" fmla="*/ 64960 w 134457"/>
                <a:gd name="connsiteY6" fmla="*/ 2739 h 130529"/>
                <a:gd name="connsiteX7" fmla="*/ 78296 w 134457"/>
                <a:gd name="connsiteY7" fmla="*/ 2834 h 130529"/>
                <a:gd name="connsiteX8" fmla="*/ 131731 w 134457"/>
                <a:gd name="connsiteY8" fmla="*/ 58365 h 130529"/>
                <a:gd name="connsiteX9" fmla="*/ 131826 w 134457"/>
                <a:gd name="connsiteY9" fmla="*/ 72176 h 130529"/>
                <a:gd name="connsiteX10" fmla="*/ 79248 w 134457"/>
                <a:gd name="connsiteY10" fmla="*/ 127612 h 130529"/>
                <a:gd name="connsiteX11" fmla="*/ 65913 w 134457"/>
                <a:gd name="connsiteY11" fmla="*/ 127802 h 130529"/>
                <a:gd name="connsiteX12" fmla="*/ 63055 w 134457"/>
                <a:gd name="connsiteY12" fmla="*/ 124945 h 130529"/>
                <a:gd name="connsiteX13" fmla="*/ 62675 w 134457"/>
                <a:gd name="connsiteY13" fmla="*/ 111133 h 130529"/>
                <a:gd name="connsiteX14" fmla="*/ 84582 w 134457"/>
                <a:gd name="connsiteY14" fmla="*/ 86654 h 130529"/>
                <a:gd name="connsiteX15" fmla="*/ 81439 w 134457"/>
                <a:gd name="connsiteY15" fmla="*/ 79510 h 130529"/>
                <a:gd name="connsiteX16" fmla="*/ 9525 w 134457"/>
                <a:gd name="connsiteY16" fmla="*/ 79510 h 130529"/>
                <a:gd name="connsiteX17" fmla="*/ 0 w 134457"/>
                <a:gd name="connsiteY17" fmla="*/ 69985 h 130529"/>
                <a:gd name="connsiteX18" fmla="*/ 0 w 134457"/>
                <a:gd name="connsiteY18" fmla="*/ 60556 h 130529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34457" h="130529">
                  <a:moveTo>
                    <a:pt x="95" y="60556"/>
                  </a:moveTo>
                  <a:cubicBezTo>
                    <a:pt x="95" y="55317"/>
                    <a:pt x="4381" y="51031"/>
                    <a:pt x="9620" y="51031"/>
                  </a:cubicBezTo>
                  <a:lnTo>
                    <a:pt x="81344" y="51031"/>
                  </a:lnTo>
                  <a:cubicBezTo>
                    <a:pt x="86582" y="51031"/>
                    <a:pt x="88011" y="47887"/>
                    <a:pt x="84392" y="43982"/>
                  </a:cubicBezTo>
                  <a:lnTo>
                    <a:pt x="61817" y="19312"/>
                  </a:lnTo>
                  <a:cubicBezTo>
                    <a:pt x="58293" y="15407"/>
                    <a:pt x="58388" y="9216"/>
                    <a:pt x="62103" y="5596"/>
                  </a:cubicBezTo>
                  <a:lnTo>
                    <a:pt x="64960" y="2739"/>
                  </a:lnTo>
                  <a:cubicBezTo>
                    <a:pt x="68675" y="-976"/>
                    <a:pt x="74676" y="-881"/>
                    <a:pt x="78296" y="2834"/>
                  </a:cubicBezTo>
                  <a:lnTo>
                    <a:pt x="131731" y="58365"/>
                  </a:lnTo>
                  <a:cubicBezTo>
                    <a:pt x="135350" y="62175"/>
                    <a:pt x="135350" y="68366"/>
                    <a:pt x="131826" y="72176"/>
                  </a:cubicBezTo>
                  <a:lnTo>
                    <a:pt x="79248" y="127612"/>
                  </a:lnTo>
                  <a:cubicBezTo>
                    <a:pt x="75628" y="131422"/>
                    <a:pt x="69628" y="131517"/>
                    <a:pt x="65913" y="127802"/>
                  </a:cubicBezTo>
                  <a:lnTo>
                    <a:pt x="63055" y="124945"/>
                  </a:lnTo>
                  <a:cubicBezTo>
                    <a:pt x="59341" y="121230"/>
                    <a:pt x="59150" y="115039"/>
                    <a:pt x="62675" y="111133"/>
                  </a:cubicBezTo>
                  <a:lnTo>
                    <a:pt x="84582" y="86654"/>
                  </a:lnTo>
                  <a:cubicBezTo>
                    <a:pt x="88106" y="82749"/>
                    <a:pt x="86677" y="79510"/>
                    <a:pt x="81439" y="79510"/>
                  </a:cubicBezTo>
                  <a:lnTo>
                    <a:pt x="9525" y="79510"/>
                  </a:lnTo>
                  <a:cubicBezTo>
                    <a:pt x="4286" y="79510"/>
                    <a:pt x="0" y="75224"/>
                    <a:pt x="0" y="69985"/>
                  </a:cubicBezTo>
                  <a:lnTo>
                    <a:pt x="0" y="60556"/>
                  </a:lnTo>
                  <a:close/>
                </a:path>
              </a:pathLst>
            </a:custGeom>
            <a:solidFill>
              <a:schemeClr val="bg1"/>
            </a:solidFill>
            <a:ln w="9525" cap="sq">
              <a:noFill/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</p:grpSp>
      <p:grpSp>
        <p:nvGrpSpPr>
          <p:cNvPr id="23" name="Group 122"/>
          <p:cNvGrpSpPr/>
          <p:nvPr/>
        </p:nvGrpSpPr>
        <p:grpSpPr>
          <a:xfrm rot="0">
            <a:off x="3803235" y="4621213"/>
            <a:ext cx="474662" cy="474662"/>
            <a:chOff x="1742661" y="2224089"/>
            <a:chExt cx="339722" cy="339722"/>
          </a:xfrm>
          <a:effectLst/>
        </p:grpSpPr>
        <p:sp>
          <p:nvSpPr>
            <p:cNvPr id="24" name="Freeform: Shape 123"/>
            <p:cNvSpPr/>
            <p:nvPr/>
          </p:nvSpPr>
          <p:spPr>
            <a:xfrm>
              <a:off x="1742661" y="2224089"/>
              <a:ext cx="339722" cy="339722"/>
            </a:xfrm>
            <a:custGeom>
              <a:avLst/>
              <a:gdLst>
                <a:gd name="connsiteX0" fmla="*/ 219075 w 219074"/>
                <a:gd name="connsiteY0" fmla="*/ 109538 h 219075"/>
                <a:gd name="connsiteX1" fmla="*/ 109538 w 219074"/>
                <a:gd name="connsiteY1" fmla="*/ 219075 h 219075"/>
                <a:gd name="connsiteX2" fmla="*/ 0 w 219074"/>
                <a:gd name="connsiteY2" fmla="*/ 109538 h 219075"/>
                <a:gd name="connsiteX3" fmla="*/ 109538 w 219074"/>
                <a:gd name="connsiteY3" fmla="*/ 0 h 219075"/>
                <a:gd name="connsiteX4" fmla="*/ 219075 w 219074"/>
                <a:gd name="connsiteY4" fmla="*/ 109538 h 219075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9074" h="219075">
                  <a:moveTo>
                    <a:pt x="219075" y="109538"/>
                  </a:moveTo>
                  <a:cubicBezTo>
                    <a:pt x="219075" y="170033"/>
                    <a:pt x="170033" y="219075"/>
                    <a:pt x="109538" y="219075"/>
                  </a:cubicBezTo>
                  <a:cubicBezTo>
                    <a:pt x="49042" y="219075"/>
                    <a:pt x="0" y="170033"/>
                    <a:pt x="0" y="109538"/>
                  </a:cubicBezTo>
                  <a:cubicBezTo>
                    <a:pt x="0" y="49042"/>
                    <a:pt x="49042" y="0"/>
                    <a:pt x="109538" y="0"/>
                  </a:cubicBezTo>
                  <a:cubicBezTo>
                    <a:pt x="170033" y="0"/>
                    <a:pt x="219075" y="49042"/>
                    <a:pt x="219075" y="109538"/>
                  </a:cubicBezTo>
                  <a:close/>
                </a:path>
              </a:pathLst>
            </a:custGeom>
            <a:solidFill>
              <a:srgbClr val="015a6b"/>
            </a:solidFill>
            <a:ln w="9525" cap="flat">
              <a:noFill/>
              <a:prstDash val="solid"/>
              <a:miter/>
            </a:ln>
            <a:effectLst/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  <p:sp>
          <p:nvSpPr>
            <p:cNvPr id="25" name="Freeform: Shape 124"/>
            <p:cNvSpPr/>
            <p:nvPr/>
          </p:nvSpPr>
          <p:spPr>
            <a:xfrm>
              <a:off x="1847166" y="2336899"/>
              <a:ext cx="117366" cy="113936"/>
            </a:xfrm>
            <a:custGeom>
              <a:avLst/>
              <a:gdLst>
                <a:gd name="connsiteX0" fmla="*/ 95 w 134457"/>
                <a:gd name="connsiteY0" fmla="*/ 60556 h 130529"/>
                <a:gd name="connsiteX1" fmla="*/ 9620 w 134457"/>
                <a:gd name="connsiteY1" fmla="*/ 51031 h 130529"/>
                <a:gd name="connsiteX2" fmla="*/ 81344 w 134457"/>
                <a:gd name="connsiteY2" fmla="*/ 51031 h 130529"/>
                <a:gd name="connsiteX3" fmla="*/ 84392 w 134457"/>
                <a:gd name="connsiteY3" fmla="*/ 43982 h 130529"/>
                <a:gd name="connsiteX4" fmla="*/ 61817 w 134457"/>
                <a:gd name="connsiteY4" fmla="*/ 19312 h 130529"/>
                <a:gd name="connsiteX5" fmla="*/ 62103 w 134457"/>
                <a:gd name="connsiteY5" fmla="*/ 5596 h 130529"/>
                <a:gd name="connsiteX6" fmla="*/ 64960 w 134457"/>
                <a:gd name="connsiteY6" fmla="*/ 2739 h 130529"/>
                <a:gd name="connsiteX7" fmla="*/ 78296 w 134457"/>
                <a:gd name="connsiteY7" fmla="*/ 2834 h 130529"/>
                <a:gd name="connsiteX8" fmla="*/ 131731 w 134457"/>
                <a:gd name="connsiteY8" fmla="*/ 58365 h 130529"/>
                <a:gd name="connsiteX9" fmla="*/ 131826 w 134457"/>
                <a:gd name="connsiteY9" fmla="*/ 72176 h 130529"/>
                <a:gd name="connsiteX10" fmla="*/ 79248 w 134457"/>
                <a:gd name="connsiteY10" fmla="*/ 127612 h 130529"/>
                <a:gd name="connsiteX11" fmla="*/ 65913 w 134457"/>
                <a:gd name="connsiteY11" fmla="*/ 127802 h 130529"/>
                <a:gd name="connsiteX12" fmla="*/ 63055 w 134457"/>
                <a:gd name="connsiteY12" fmla="*/ 124945 h 130529"/>
                <a:gd name="connsiteX13" fmla="*/ 62675 w 134457"/>
                <a:gd name="connsiteY13" fmla="*/ 111133 h 130529"/>
                <a:gd name="connsiteX14" fmla="*/ 84582 w 134457"/>
                <a:gd name="connsiteY14" fmla="*/ 86654 h 130529"/>
                <a:gd name="connsiteX15" fmla="*/ 81439 w 134457"/>
                <a:gd name="connsiteY15" fmla="*/ 79510 h 130529"/>
                <a:gd name="connsiteX16" fmla="*/ 9525 w 134457"/>
                <a:gd name="connsiteY16" fmla="*/ 79510 h 130529"/>
                <a:gd name="connsiteX17" fmla="*/ 0 w 134457"/>
                <a:gd name="connsiteY17" fmla="*/ 69985 h 130529"/>
                <a:gd name="connsiteX18" fmla="*/ 0 w 134457"/>
                <a:gd name="connsiteY18" fmla="*/ 60556 h 130529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34457" h="130529">
                  <a:moveTo>
                    <a:pt x="95" y="60556"/>
                  </a:moveTo>
                  <a:cubicBezTo>
                    <a:pt x="95" y="55317"/>
                    <a:pt x="4381" y="51031"/>
                    <a:pt x="9620" y="51031"/>
                  </a:cubicBezTo>
                  <a:lnTo>
                    <a:pt x="81344" y="51031"/>
                  </a:lnTo>
                  <a:cubicBezTo>
                    <a:pt x="86582" y="51031"/>
                    <a:pt x="88011" y="47887"/>
                    <a:pt x="84392" y="43982"/>
                  </a:cubicBezTo>
                  <a:lnTo>
                    <a:pt x="61817" y="19312"/>
                  </a:lnTo>
                  <a:cubicBezTo>
                    <a:pt x="58293" y="15407"/>
                    <a:pt x="58388" y="9216"/>
                    <a:pt x="62103" y="5596"/>
                  </a:cubicBezTo>
                  <a:lnTo>
                    <a:pt x="64960" y="2739"/>
                  </a:lnTo>
                  <a:cubicBezTo>
                    <a:pt x="68675" y="-976"/>
                    <a:pt x="74676" y="-881"/>
                    <a:pt x="78296" y="2834"/>
                  </a:cubicBezTo>
                  <a:lnTo>
                    <a:pt x="131731" y="58365"/>
                  </a:lnTo>
                  <a:cubicBezTo>
                    <a:pt x="135350" y="62175"/>
                    <a:pt x="135350" y="68366"/>
                    <a:pt x="131826" y="72176"/>
                  </a:cubicBezTo>
                  <a:lnTo>
                    <a:pt x="79248" y="127612"/>
                  </a:lnTo>
                  <a:cubicBezTo>
                    <a:pt x="75628" y="131422"/>
                    <a:pt x="69628" y="131517"/>
                    <a:pt x="65913" y="127802"/>
                  </a:cubicBezTo>
                  <a:lnTo>
                    <a:pt x="63055" y="124945"/>
                  </a:lnTo>
                  <a:cubicBezTo>
                    <a:pt x="59341" y="121230"/>
                    <a:pt x="59150" y="115039"/>
                    <a:pt x="62675" y="111133"/>
                  </a:cubicBezTo>
                  <a:lnTo>
                    <a:pt x="84582" y="86654"/>
                  </a:lnTo>
                  <a:cubicBezTo>
                    <a:pt x="88106" y="82749"/>
                    <a:pt x="86677" y="79510"/>
                    <a:pt x="81439" y="79510"/>
                  </a:cubicBezTo>
                  <a:lnTo>
                    <a:pt x="9525" y="79510"/>
                  </a:lnTo>
                  <a:cubicBezTo>
                    <a:pt x="4286" y="79510"/>
                    <a:pt x="0" y="75224"/>
                    <a:pt x="0" y="69985"/>
                  </a:cubicBezTo>
                  <a:lnTo>
                    <a:pt x="0" y="60556"/>
                  </a:lnTo>
                  <a:close/>
                </a:path>
              </a:pathLst>
            </a:custGeom>
            <a:solidFill>
              <a:schemeClr val="bg1"/>
            </a:solidFill>
            <a:ln w="9525" cap="sq">
              <a:noFill/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</p:grpSp>
      <p:grpSp>
        <p:nvGrpSpPr>
          <p:cNvPr id="26" name="Group 125"/>
          <p:cNvGrpSpPr/>
          <p:nvPr/>
        </p:nvGrpSpPr>
        <p:grpSpPr>
          <a:xfrm rot="0">
            <a:off x="8058528" y="4621213"/>
            <a:ext cx="474662" cy="474662"/>
            <a:chOff x="1742661" y="2224089"/>
            <a:chExt cx="339722" cy="339722"/>
          </a:xfrm>
          <a:effectLst/>
        </p:grpSpPr>
        <p:sp>
          <p:nvSpPr>
            <p:cNvPr id="27" name="Freeform: Shape 126"/>
            <p:cNvSpPr/>
            <p:nvPr/>
          </p:nvSpPr>
          <p:spPr>
            <a:xfrm>
              <a:off x="1742661" y="2224089"/>
              <a:ext cx="339722" cy="339722"/>
            </a:xfrm>
            <a:custGeom>
              <a:avLst/>
              <a:gdLst>
                <a:gd name="connsiteX0" fmla="*/ 219075 w 219074"/>
                <a:gd name="connsiteY0" fmla="*/ 109538 h 219075"/>
                <a:gd name="connsiteX1" fmla="*/ 109538 w 219074"/>
                <a:gd name="connsiteY1" fmla="*/ 219075 h 219075"/>
                <a:gd name="connsiteX2" fmla="*/ 0 w 219074"/>
                <a:gd name="connsiteY2" fmla="*/ 109538 h 219075"/>
                <a:gd name="connsiteX3" fmla="*/ 109538 w 219074"/>
                <a:gd name="connsiteY3" fmla="*/ 0 h 219075"/>
                <a:gd name="connsiteX4" fmla="*/ 219075 w 219074"/>
                <a:gd name="connsiteY4" fmla="*/ 109538 h 219075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9074" h="219075">
                  <a:moveTo>
                    <a:pt x="219075" y="109538"/>
                  </a:moveTo>
                  <a:cubicBezTo>
                    <a:pt x="219075" y="170033"/>
                    <a:pt x="170033" y="219075"/>
                    <a:pt x="109538" y="219075"/>
                  </a:cubicBezTo>
                  <a:cubicBezTo>
                    <a:pt x="49042" y="219075"/>
                    <a:pt x="0" y="170033"/>
                    <a:pt x="0" y="109538"/>
                  </a:cubicBezTo>
                  <a:cubicBezTo>
                    <a:pt x="0" y="49042"/>
                    <a:pt x="49042" y="0"/>
                    <a:pt x="109538" y="0"/>
                  </a:cubicBezTo>
                  <a:cubicBezTo>
                    <a:pt x="170033" y="0"/>
                    <a:pt x="219075" y="49042"/>
                    <a:pt x="219075" y="109538"/>
                  </a:cubicBezTo>
                  <a:close/>
                </a:path>
              </a:pathLst>
            </a:custGeom>
            <a:solidFill>
              <a:srgbClr val="015a6b"/>
            </a:solidFill>
            <a:ln w="9525" cap="flat">
              <a:noFill/>
              <a:prstDash val="solid"/>
              <a:miter/>
            </a:ln>
            <a:effectLst/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  <p:sp>
          <p:nvSpPr>
            <p:cNvPr id="28" name="Freeform: Shape 127"/>
            <p:cNvSpPr/>
            <p:nvPr/>
          </p:nvSpPr>
          <p:spPr>
            <a:xfrm>
              <a:off x="1847166" y="2336899"/>
              <a:ext cx="117366" cy="113936"/>
            </a:xfrm>
            <a:custGeom>
              <a:avLst/>
              <a:gdLst>
                <a:gd name="connsiteX0" fmla="*/ 95 w 134457"/>
                <a:gd name="connsiteY0" fmla="*/ 60556 h 130529"/>
                <a:gd name="connsiteX1" fmla="*/ 9620 w 134457"/>
                <a:gd name="connsiteY1" fmla="*/ 51031 h 130529"/>
                <a:gd name="connsiteX2" fmla="*/ 81344 w 134457"/>
                <a:gd name="connsiteY2" fmla="*/ 51031 h 130529"/>
                <a:gd name="connsiteX3" fmla="*/ 84392 w 134457"/>
                <a:gd name="connsiteY3" fmla="*/ 43982 h 130529"/>
                <a:gd name="connsiteX4" fmla="*/ 61817 w 134457"/>
                <a:gd name="connsiteY4" fmla="*/ 19312 h 130529"/>
                <a:gd name="connsiteX5" fmla="*/ 62103 w 134457"/>
                <a:gd name="connsiteY5" fmla="*/ 5596 h 130529"/>
                <a:gd name="connsiteX6" fmla="*/ 64960 w 134457"/>
                <a:gd name="connsiteY6" fmla="*/ 2739 h 130529"/>
                <a:gd name="connsiteX7" fmla="*/ 78296 w 134457"/>
                <a:gd name="connsiteY7" fmla="*/ 2834 h 130529"/>
                <a:gd name="connsiteX8" fmla="*/ 131731 w 134457"/>
                <a:gd name="connsiteY8" fmla="*/ 58365 h 130529"/>
                <a:gd name="connsiteX9" fmla="*/ 131826 w 134457"/>
                <a:gd name="connsiteY9" fmla="*/ 72176 h 130529"/>
                <a:gd name="connsiteX10" fmla="*/ 79248 w 134457"/>
                <a:gd name="connsiteY10" fmla="*/ 127612 h 130529"/>
                <a:gd name="connsiteX11" fmla="*/ 65913 w 134457"/>
                <a:gd name="connsiteY11" fmla="*/ 127802 h 130529"/>
                <a:gd name="connsiteX12" fmla="*/ 63055 w 134457"/>
                <a:gd name="connsiteY12" fmla="*/ 124945 h 130529"/>
                <a:gd name="connsiteX13" fmla="*/ 62675 w 134457"/>
                <a:gd name="connsiteY13" fmla="*/ 111133 h 130529"/>
                <a:gd name="connsiteX14" fmla="*/ 84582 w 134457"/>
                <a:gd name="connsiteY14" fmla="*/ 86654 h 130529"/>
                <a:gd name="connsiteX15" fmla="*/ 81439 w 134457"/>
                <a:gd name="connsiteY15" fmla="*/ 79510 h 130529"/>
                <a:gd name="connsiteX16" fmla="*/ 9525 w 134457"/>
                <a:gd name="connsiteY16" fmla="*/ 79510 h 130529"/>
                <a:gd name="connsiteX17" fmla="*/ 0 w 134457"/>
                <a:gd name="connsiteY17" fmla="*/ 69985 h 130529"/>
                <a:gd name="connsiteX18" fmla="*/ 0 w 134457"/>
                <a:gd name="connsiteY18" fmla="*/ 60556 h 130529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34457" h="130529">
                  <a:moveTo>
                    <a:pt x="95" y="60556"/>
                  </a:moveTo>
                  <a:cubicBezTo>
                    <a:pt x="95" y="55317"/>
                    <a:pt x="4381" y="51031"/>
                    <a:pt x="9620" y="51031"/>
                  </a:cubicBezTo>
                  <a:lnTo>
                    <a:pt x="81344" y="51031"/>
                  </a:lnTo>
                  <a:cubicBezTo>
                    <a:pt x="86582" y="51031"/>
                    <a:pt x="88011" y="47887"/>
                    <a:pt x="84392" y="43982"/>
                  </a:cubicBezTo>
                  <a:lnTo>
                    <a:pt x="61817" y="19312"/>
                  </a:lnTo>
                  <a:cubicBezTo>
                    <a:pt x="58293" y="15407"/>
                    <a:pt x="58388" y="9216"/>
                    <a:pt x="62103" y="5596"/>
                  </a:cubicBezTo>
                  <a:lnTo>
                    <a:pt x="64960" y="2739"/>
                  </a:lnTo>
                  <a:cubicBezTo>
                    <a:pt x="68675" y="-976"/>
                    <a:pt x="74676" y="-881"/>
                    <a:pt x="78296" y="2834"/>
                  </a:cubicBezTo>
                  <a:lnTo>
                    <a:pt x="131731" y="58365"/>
                  </a:lnTo>
                  <a:cubicBezTo>
                    <a:pt x="135350" y="62175"/>
                    <a:pt x="135350" y="68366"/>
                    <a:pt x="131826" y="72176"/>
                  </a:cubicBezTo>
                  <a:lnTo>
                    <a:pt x="79248" y="127612"/>
                  </a:lnTo>
                  <a:cubicBezTo>
                    <a:pt x="75628" y="131422"/>
                    <a:pt x="69628" y="131517"/>
                    <a:pt x="65913" y="127802"/>
                  </a:cubicBezTo>
                  <a:lnTo>
                    <a:pt x="63055" y="124945"/>
                  </a:lnTo>
                  <a:cubicBezTo>
                    <a:pt x="59341" y="121230"/>
                    <a:pt x="59150" y="115039"/>
                    <a:pt x="62675" y="111133"/>
                  </a:cubicBezTo>
                  <a:lnTo>
                    <a:pt x="84582" y="86654"/>
                  </a:lnTo>
                  <a:cubicBezTo>
                    <a:pt x="88106" y="82749"/>
                    <a:pt x="86677" y="79510"/>
                    <a:pt x="81439" y="79510"/>
                  </a:cubicBezTo>
                  <a:lnTo>
                    <a:pt x="9525" y="79510"/>
                  </a:lnTo>
                  <a:cubicBezTo>
                    <a:pt x="4286" y="79510"/>
                    <a:pt x="0" y="75224"/>
                    <a:pt x="0" y="69985"/>
                  </a:cubicBezTo>
                  <a:lnTo>
                    <a:pt x="0" y="60556"/>
                  </a:lnTo>
                  <a:close/>
                </a:path>
              </a:pathLst>
            </a:custGeom>
            <a:solidFill>
              <a:schemeClr val="bg1"/>
            </a:solidFill>
            <a:ln w="9525" cap="sq">
              <a:noFill/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</p:grpSp>
      <p:grpSp>
        <p:nvGrpSpPr>
          <p:cNvPr id="29" name="Graphic 10"/>
          <p:cNvGrpSpPr/>
          <p:nvPr/>
        </p:nvGrpSpPr>
        <p:grpSpPr>
          <a:xfrm rot="0">
            <a:off x="10186570" y="3419475"/>
            <a:ext cx="476256" cy="476250"/>
            <a:chOff x="10444162" y="4705730"/>
            <a:chExt cx="219075" cy="219074"/>
          </a:xfrm>
          <a:noFill/>
        </p:grpSpPr>
        <p:sp>
          <p:nvSpPr>
            <p:cNvPr id="30" name="Freeform: Shape 134"/>
            <p:cNvSpPr/>
            <p:nvPr/>
          </p:nvSpPr>
          <p:spPr>
            <a:xfrm>
              <a:off x="10444162" y="4705730"/>
              <a:ext cx="219075" cy="200501"/>
            </a:xfrm>
            <a:custGeom>
              <a:avLst/>
              <a:gdLst>
                <a:gd name="connsiteX0" fmla="*/ 151638 w 219075"/>
                <a:gd name="connsiteY0" fmla="*/ 178594 h 200501"/>
                <a:gd name="connsiteX1" fmla="*/ 173546 w 219075"/>
                <a:gd name="connsiteY1" fmla="*/ 200501 h 200501"/>
                <a:gd name="connsiteX2" fmla="*/ 200501 w 219075"/>
                <a:gd name="connsiteY2" fmla="*/ 173546 h 200501"/>
                <a:gd name="connsiteX3" fmla="*/ 178594 w 219075"/>
                <a:gd name="connsiteY3" fmla="*/ 151638 h 200501"/>
                <a:gd name="connsiteX4" fmla="*/ 188119 w 219075"/>
                <a:gd name="connsiteY4" fmla="*/ 123825 h 200501"/>
                <a:gd name="connsiteX5" fmla="*/ 219075 w 219075"/>
                <a:gd name="connsiteY5" fmla="*/ 123825 h 200501"/>
                <a:gd name="connsiteX6" fmla="*/ 219075 w 219075"/>
                <a:gd name="connsiteY6" fmla="*/ 95250 h 200501"/>
                <a:gd name="connsiteX7" fmla="*/ 188119 w 219075"/>
                <a:gd name="connsiteY7" fmla="*/ 95250 h 200501"/>
                <a:gd name="connsiteX8" fmla="*/ 178594 w 219075"/>
                <a:gd name="connsiteY8" fmla="*/ 67437 h 200501"/>
                <a:gd name="connsiteX9" fmla="*/ 200501 w 219075"/>
                <a:gd name="connsiteY9" fmla="*/ 45529 h 200501"/>
                <a:gd name="connsiteX10" fmla="*/ 173546 w 219075"/>
                <a:gd name="connsiteY10" fmla="*/ 18574 h 200501"/>
                <a:gd name="connsiteX11" fmla="*/ 151638 w 219075"/>
                <a:gd name="connsiteY11" fmla="*/ 40481 h 200501"/>
                <a:gd name="connsiteX12" fmla="*/ 123825 w 219075"/>
                <a:gd name="connsiteY12" fmla="*/ 30956 h 200501"/>
                <a:gd name="connsiteX13" fmla="*/ 123825 w 219075"/>
                <a:gd name="connsiteY13" fmla="*/ 0 h 200501"/>
                <a:gd name="connsiteX14" fmla="*/ 95250 w 219075"/>
                <a:gd name="connsiteY14" fmla="*/ 0 h 200501"/>
                <a:gd name="connsiteX15" fmla="*/ 95250 w 219075"/>
                <a:gd name="connsiteY15" fmla="*/ 30956 h 200501"/>
                <a:gd name="connsiteX16" fmla="*/ 67437 w 219075"/>
                <a:gd name="connsiteY16" fmla="*/ 40481 h 200501"/>
                <a:gd name="connsiteX17" fmla="*/ 45529 w 219075"/>
                <a:gd name="connsiteY17" fmla="*/ 18574 h 200501"/>
                <a:gd name="connsiteX18" fmla="*/ 18574 w 219075"/>
                <a:gd name="connsiteY18" fmla="*/ 45529 h 200501"/>
                <a:gd name="connsiteX19" fmla="*/ 40481 w 219075"/>
                <a:gd name="connsiteY19" fmla="*/ 67437 h 200501"/>
                <a:gd name="connsiteX20" fmla="*/ 30956 w 219075"/>
                <a:gd name="connsiteY20" fmla="*/ 95250 h 200501"/>
                <a:gd name="connsiteX21" fmla="*/ 0 w 219075"/>
                <a:gd name="connsiteY21" fmla="*/ 95250 h 200501"/>
                <a:gd name="connsiteX22" fmla="*/ 0 w 219075"/>
                <a:gd name="connsiteY22" fmla="*/ 123825 h 200501"/>
                <a:gd name="connsiteX23" fmla="*/ 30956 w 219075"/>
                <a:gd name="connsiteY23" fmla="*/ 123825 h 200501"/>
                <a:gd name="connsiteX24" fmla="*/ 40481 w 219075"/>
                <a:gd name="connsiteY24" fmla="*/ 151638 h 200501"/>
                <a:gd name="connsiteX25" fmla="*/ 18574 w 219075"/>
                <a:gd name="connsiteY25" fmla="*/ 173546 h 200501"/>
                <a:gd name="connsiteX26" fmla="*/ 45529 w 219075"/>
                <a:gd name="connsiteY26" fmla="*/ 200501 h 200501"/>
                <a:gd name="connsiteX27" fmla="*/ 67437 w 219075"/>
                <a:gd name="connsiteY27" fmla="*/ 178594 h 200501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19075" h="200501">
                  <a:moveTo>
                    <a:pt x="151638" y="178594"/>
                  </a:moveTo>
                  <a:lnTo>
                    <a:pt x="173546" y="200501"/>
                  </a:lnTo>
                  <a:lnTo>
                    <a:pt x="200501" y="173546"/>
                  </a:lnTo>
                  <a:lnTo>
                    <a:pt x="178594" y="151638"/>
                  </a:lnTo>
                  <a:cubicBezTo>
                    <a:pt x="182880" y="144590"/>
                    <a:pt x="186119" y="132112"/>
                    <a:pt x="188119" y="123825"/>
                  </a:cubicBezTo>
                  <a:lnTo>
                    <a:pt x="219075" y="123825"/>
                  </a:lnTo>
                  <a:lnTo>
                    <a:pt x="219075" y="95250"/>
                  </a:lnTo>
                  <a:lnTo>
                    <a:pt x="188119" y="95250"/>
                  </a:lnTo>
                  <a:cubicBezTo>
                    <a:pt x="186119" y="86963"/>
                    <a:pt x="182880" y="74486"/>
                    <a:pt x="178594" y="67437"/>
                  </a:cubicBezTo>
                  <a:lnTo>
                    <a:pt x="200501" y="45529"/>
                  </a:lnTo>
                  <a:lnTo>
                    <a:pt x="173546" y="18574"/>
                  </a:lnTo>
                  <a:lnTo>
                    <a:pt x="151638" y="40481"/>
                  </a:lnTo>
                  <a:cubicBezTo>
                    <a:pt x="144589" y="36195"/>
                    <a:pt x="132112" y="32956"/>
                    <a:pt x="123825" y="30956"/>
                  </a:cubicBezTo>
                  <a:lnTo>
                    <a:pt x="123825" y="0"/>
                  </a:lnTo>
                  <a:lnTo>
                    <a:pt x="95250" y="0"/>
                  </a:lnTo>
                  <a:lnTo>
                    <a:pt x="95250" y="30956"/>
                  </a:lnTo>
                  <a:cubicBezTo>
                    <a:pt x="86963" y="32956"/>
                    <a:pt x="74486" y="36195"/>
                    <a:pt x="67437" y="40481"/>
                  </a:cubicBezTo>
                  <a:lnTo>
                    <a:pt x="45529" y="18574"/>
                  </a:lnTo>
                  <a:lnTo>
                    <a:pt x="18574" y="45529"/>
                  </a:lnTo>
                  <a:lnTo>
                    <a:pt x="40481" y="67437"/>
                  </a:lnTo>
                  <a:cubicBezTo>
                    <a:pt x="36195" y="74486"/>
                    <a:pt x="32956" y="86963"/>
                    <a:pt x="30956" y="95250"/>
                  </a:cubicBezTo>
                  <a:lnTo>
                    <a:pt x="0" y="95250"/>
                  </a:lnTo>
                  <a:lnTo>
                    <a:pt x="0" y="123825"/>
                  </a:lnTo>
                  <a:lnTo>
                    <a:pt x="30956" y="123825"/>
                  </a:lnTo>
                  <a:cubicBezTo>
                    <a:pt x="32956" y="132112"/>
                    <a:pt x="36195" y="144590"/>
                    <a:pt x="40481" y="151638"/>
                  </a:cubicBezTo>
                  <a:lnTo>
                    <a:pt x="18574" y="173546"/>
                  </a:lnTo>
                  <a:lnTo>
                    <a:pt x="45529" y="200501"/>
                  </a:lnTo>
                  <a:lnTo>
                    <a:pt x="67437" y="178594"/>
                  </a:lnTo>
                </a:path>
              </a:pathLst>
            </a:custGeom>
            <a:noFill/>
            <a:ln w="12700" cap="rnd">
              <a:solidFill>
                <a:srgbClr val="015a6b"/>
              </a:solidFill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  <p:sp>
          <p:nvSpPr>
            <p:cNvPr id="31" name="Freeform: Shape 135"/>
            <p:cNvSpPr/>
            <p:nvPr/>
          </p:nvSpPr>
          <p:spPr>
            <a:xfrm>
              <a:off x="10539412" y="4896230"/>
              <a:ext cx="28575" cy="9525"/>
            </a:xfrm>
            <a:custGeom>
              <a:avLst/>
              <a:gdLst>
                <a:gd name="connsiteX0" fmla="*/ 0 w 28575"/>
                <a:gd name="connsiteY0" fmla="*/ 0 h 9525"/>
                <a:gd name="connsiteX1" fmla="*/ 28575 w 28575"/>
                <a:gd name="connsiteY1" fmla="*/ 0 h 9525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575" h="9525">
                  <a:moveTo>
                    <a:pt x="0" y="0"/>
                  </a:moveTo>
                  <a:lnTo>
                    <a:pt x="28575" y="0"/>
                  </a:lnTo>
                </a:path>
              </a:pathLst>
            </a:custGeom>
            <a:ln w="12700" cap="rnd">
              <a:solidFill>
                <a:srgbClr val="015a6b"/>
              </a:solidFill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  <p:sp>
          <p:nvSpPr>
            <p:cNvPr id="32" name="Freeform: Shape 136"/>
            <p:cNvSpPr/>
            <p:nvPr/>
          </p:nvSpPr>
          <p:spPr>
            <a:xfrm>
              <a:off x="10539412" y="4915280"/>
              <a:ext cx="28575" cy="9525"/>
            </a:xfrm>
            <a:custGeom>
              <a:avLst/>
              <a:gdLst>
                <a:gd name="connsiteX0" fmla="*/ 0 w 28575"/>
                <a:gd name="connsiteY0" fmla="*/ 0 h 9525"/>
                <a:gd name="connsiteX1" fmla="*/ 28575 w 28575"/>
                <a:gd name="connsiteY1" fmla="*/ 0 h 9525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575" h="9525">
                  <a:moveTo>
                    <a:pt x="0" y="0"/>
                  </a:moveTo>
                  <a:lnTo>
                    <a:pt x="28575" y="0"/>
                  </a:lnTo>
                </a:path>
              </a:pathLst>
            </a:custGeom>
            <a:ln w="12700" cap="rnd">
              <a:solidFill>
                <a:srgbClr val="015a6b"/>
              </a:solidFill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  <p:sp>
          <p:nvSpPr>
            <p:cNvPr id="33" name="Freeform: Shape 137"/>
            <p:cNvSpPr/>
            <p:nvPr/>
          </p:nvSpPr>
          <p:spPr>
            <a:xfrm>
              <a:off x="10553700" y="4915280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9525 h 9525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9525"/>
                  </a:lnTo>
                </a:path>
              </a:pathLst>
            </a:custGeom>
            <a:ln w="12700" cap="rnd">
              <a:solidFill>
                <a:srgbClr val="015a6b"/>
              </a:solidFill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  <p:sp>
          <p:nvSpPr>
            <p:cNvPr id="34" name="Freeform: Shape 138"/>
            <p:cNvSpPr/>
            <p:nvPr/>
          </p:nvSpPr>
          <p:spPr>
            <a:xfrm>
              <a:off x="10497788" y="4762975"/>
              <a:ext cx="111823" cy="114204"/>
            </a:xfrm>
            <a:custGeom>
              <a:avLst/>
              <a:gdLst>
                <a:gd name="connsiteX0" fmla="*/ 111823 w 111823"/>
                <a:gd name="connsiteY0" fmla="*/ 52768 h 114204"/>
                <a:gd name="connsiteX1" fmla="*/ 55912 w 111823"/>
                <a:gd name="connsiteY1" fmla="*/ 0 h 114204"/>
                <a:gd name="connsiteX2" fmla="*/ 0 w 111823"/>
                <a:gd name="connsiteY2" fmla="*/ 52768 h 114204"/>
                <a:gd name="connsiteX3" fmla="*/ 41624 w 111823"/>
                <a:gd name="connsiteY3" fmla="*/ 103442 h 114204"/>
                <a:gd name="connsiteX4" fmla="*/ 41624 w 111823"/>
                <a:gd name="connsiteY4" fmla="*/ 114205 h 114204"/>
                <a:gd name="connsiteX5" fmla="*/ 70199 w 111823"/>
                <a:gd name="connsiteY5" fmla="*/ 114205 h 114204"/>
                <a:gd name="connsiteX6" fmla="*/ 70199 w 111823"/>
                <a:gd name="connsiteY6" fmla="*/ 103442 h 114204"/>
                <a:gd name="connsiteX7" fmla="*/ 111823 w 111823"/>
                <a:gd name="connsiteY7" fmla="*/ 52768 h 114204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1823" h="114204">
                  <a:moveTo>
                    <a:pt x="111823" y="52768"/>
                  </a:moveTo>
                  <a:cubicBezTo>
                    <a:pt x="111823" y="23622"/>
                    <a:pt x="86773" y="0"/>
                    <a:pt x="55912" y="0"/>
                  </a:cubicBezTo>
                  <a:cubicBezTo>
                    <a:pt x="25051" y="0"/>
                    <a:pt x="0" y="23622"/>
                    <a:pt x="0" y="52768"/>
                  </a:cubicBezTo>
                  <a:cubicBezTo>
                    <a:pt x="0" y="76867"/>
                    <a:pt x="18288" y="97060"/>
                    <a:pt x="41624" y="103442"/>
                  </a:cubicBezTo>
                  <a:lnTo>
                    <a:pt x="41624" y="114205"/>
                  </a:lnTo>
                  <a:lnTo>
                    <a:pt x="70199" y="114205"/>
                  </a:lnTo>
                  <a:lnTo>
                    <a:pt x="70199" y="103442"/>
                  </a:lnTo>
                  <a:cubicBezTo>
                    <a:pt x="93536" y="97060"/>
                    <a:pt x="111823" y="76771"/>
                    <a:pt x="111823" y="52768"/>
                  </a:cubicBezTo>
                  <a:close/>
                </a:path>
              </a:pathLst>
            </a:custGeom>
            <a:noFill/>
            <a:ln w="12700" cap="rnd">
              <a:solidFill>
                <a:srgbClr val="015a6b"/>
              </a:solidFill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</p:grpSp>
      <p:grpSp>
        <p:nvGrpSpPr>
          <p:cNvPr id="35" name="Graphic 4"/>
          <p:cNvGrpSpPr/>
          <p:nvPr/>
        </p:nvGrpSpPr>
        <p:grpSpPr>
          <a:xfrm rot="0">
            <a:off x="1674396" y="3439534"/>
            <a:ext cx="476254" cy="436132"/>
            <a:chOff x="2900362" y="2490954"/>
            <a:chExt cx="219075" cy="200620"/>
          </a:xfrm>
          <a:noFill/>
        </p:grpSpPr>
        <p:sp>
          <p:nvSpPr>
            <p:cNvPr id="36" name="Freeform: Shape 140"/>
            <p:cNvSpPr/>
            <p:nvPr/>
          </p:nvSpPr>
          <p:spPr>
            <a:xfrm>
              <a:off x="2900362" y="2596324"/>
              <a:ext cx="95250" cy="95250"/>
            </a:xfrm>
            <a:custGeom>
              <a:avLst/>
              <a:gdLst>
                <a:gd name="connsiteX0" fmla="*/ 95250 w 95250"/>
                <a:gd name="connsiteY0" fmla="*/ 47625 h 95250"/>
                <a:gd name="connsiteX1" fmla="*/ 47625 w 95250"/>
                <a:gd name="connsiteY1" fmla="*/ 95250 h 95250"/>
                <a:gd name="connsiteX2" fmla="*/ 0 w 95250"/>
                <a:gd name="connsiteY2" fmla="*/ 47625 h 95250"/>
                <a:gd name="connsiteX3" fmla="*/ 47625 w 95250"/>
                <a:gd name="connsiteY3" fmla="*/ 0 h 95250"/>
                <a:gd name="connsiteX4" fmla="*/ 95250 w 95250"/>
                <a:gd name="connsiteY4" fmla="*/ 47625 h 95250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95250" y="47625"/>
                  </a:moveTo>
                  <a:cubicBezTo>
                    <a:pt x="95250" y="73928"/>
                    <a:pt x="73928" y="95250"/>
                    <a:pt x="47625" y="95250"/>
                  </a:cubicBezTo>
                  <a:cubicBezTo>
                    <a:pt x="21322" y="95250"/>
                    <a:pt x="0" y="73928"/>
                    <a:pt x="0" y="47625"/>
                  </a:cubicBezTo>
                  <a:cubicBezTo>
                    <a:pt x="0" y="21322"/>
                    <a:pt x="21322" y="0"/>
                    <a:pt x="47625" y="0"/>
                  </a:cubicBezTo>
                  <a:cubicBezTo>
                    <a:pt x="73928" y="0"/>
                    <a:pt x="95250" y="21322"/>
                    <a:pt x="95250" y="47625"/>
                  </a:cubicBezTo>
                  <a:close/>
                </a:path>
              </a:pathLst>
            </a:custGeom>
            <a:noFill/>
            <a:ln w="12700" cap="rnd">
              <a:solidFill>
                <a:srgbClr val="015a6b"/>
              </a:solidFill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  <p:sp>
          <p:nvSpPr>
            <p:cNvPr id="37" name="Freeform: Shape 141"/>
            <p:cNvSpPr/>
            <p:nvPr/>
          </p:nvSpPr>
          <p:spPr>
            <a:xfrm>
              <a:off x="2909887" y="2490954"/>
              <a:ext cx="85725" cy="124420"/>
            </a:xfrm>
            <a:custGeom>
              <a:avLst/>
              <a:gdLst>
                <a:gd name="connsiteX0" fmla="*/ 85725 w 85725"/>
                <a:gd name="connsiteY0" fmla="*/ 43458 h 124420"/>
                <a:gd name="connsiteX1" fmla="*/ 85725 w 85725"/>
                <a:gd name="connsiteY1" fmla="*/ 5358 h 124420"/>
                <a:gd name="connsiteX2" fmla="*/ 57150 w 85725"/>
                <a:gd name="connsiteY2" fmla="*/ 5358 h 124420"/>
                <a:gd name="connsiteX3" fmla="*/ 42863 w 85725"/>
                <a:gd name="connsiteY3" fmla="*/ 43458 h 124420"/>
                <a:gd name="connsiteX4" fmla="*/ 28575 w 85725"/>
                <a:gd name="connsiteY4" fmla="*/ 57745 h 124420"/>
                <a:gd name="connsiteX5" fmla="*/ 0 w 85725"/>
                <a:gd name="connsiteY5" fmla="*/ 124420 h 124420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5725" h="124420">
                  <a:moveTo>
                    <a:pt x="85725" y="43458"/>
                  </a:moveTo>
                  <a:lnTo>
                    <a:pt x="85725" y="5358"/>
                  </a:lnTo>
                  <a:cubicBezTo>
                    <a:pt x="78581" y="-1786"/>
                    <a:pt x="64294" y="-1786"/>
                    <a:pt x="57150" y="5358"/>
                  </a:cubicBezTo>
                  <a:lnTo>
                    <a:pt x="42863" y="43458"/>
                  </a:lnTo>
                  <a:lnTo>
                    <a:pt x="28575" y="57745"/>
                  </a:lnTo>
                  <a:lnTo>
                    <a:pt x="0" y="124420"/>
                  </a:lnTo>
                </a:path>
              </a:pathLst>
            </a:custGeom>
            <a:noFill/>
            <a:ln w="12700" cap="rnd">
              <a:solidFill>
                <a:srgbClr val="015a6b"/>
              </a:solidFill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  <p:sp>
          <p:nvSpPr>
            <p:cNvPr id="38" name="Freeform: Shape 142"/>
            <p:cNvSpPr/>
            <p:nvPr/>
          </p:nvSpPr>
          <p:spPr>
            <a:xfrm>
              <a:off x="3024187" y="2596324"/>
              <a:ext cx="95250" cy="95250"/>
            </a:xfrm>
            <a:custGeom>
              <a:avLst/>
              <a:gdLst>
                <a:gd name="connsiteX0" fmla="*/ 95250 w 95250"/>
                <a:gd name="connsiteY0" fmla="*/ 47625 h 95250"/>
                <a:gd name="connsiteX1" fmla="*/ 47625 w 95250"/>
                <a:gd name="connsiteY1" fmla="*/ 95250 h 95250"/>
                <a:gd name="connsiteX2" fmla="*/ 0 w 95250"/>
                <a:gd name="connsiteY2" fmla="*/ 47625 h 95250"/>
                <a:gd name="connsiteX3" fmla="*/ 47625 w 95250"/>
                <a:gd name="connsiteY3" fmla="*/ 0 h 95250"/>
                <a:gd name="connsiteX4" fmla="*/ 95250 w 95250"/>
                <a:gd name="connsiteY4" fmla="*/ 47625 h 95250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95250" y="47625"/>
                  </a:moveTo>
                  <a:cubicBezTo>
                    <a:pt x="95250" y="73928"/>
                    <a:pt x="73927" y="95250"/>
                    <a:pt x="47625" y="95250"/>
                  </a:cubicBezTo>
                  <a:cubicBezTo>
                    <a:pt x="21322" y="95250"/>
                    <a:pt x="0" y="73928"/>
                    <a:pt x="0" y="47625"/>
                  </a:cubicBezTo>
                  <a:cubicBezTo>
                    <a:pt x="0" y="21322"/>
                    <a:pt x="21322" y="0"/>
                    <a:pt x="47625" y="0"/>
                  </a:cubicBezTo>
                  <a:cubicBezTo>
                    <a:pt x="73927" y="0"/>
                    <a:pt x="95250" y="21322"/>
                    <a:pt x="95250" y="47625"/>
                  </a:cubicBezTo>
                  <a:close/>
                </a:path>
              </a:pathLst>
            </a:custGeom>
            <a:noFill/>
            <a:ln w="12700" cap="rnd">
              <a:solidFill>
                <a:srgbClr val="015a6b"/>
              </a:solidFill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  <p:sp>
          <p:nvSpPr>
            <p:cNvPr id="39" name="Freeform: Shape 143"/>
            <p:cNvSpPr/>
            <p:nvPr/>
          </p:nvSpPr>
          <p:spPr>
            <a:xfrm>
              <a:off x="3024187" y="2491525"/>
              <a:ext cx="85725" cy="123848"/>
            </a:xfrm>
            <a:custGeom>
              <a:avLst/>
              <a:gdLst>
                <a:gd name="connsiteX0" fmla="*/ 0 w 85725"/>
                <a:gd name="connsiteY0" fmla="*/ 42886 h 123848"/>
                <a:gd name="connsiteX1" fmla="*/ 0 w 85725"/>
                <a:gd name="connsiteY1" fmla="*/ 5358 h 123848"/>
                <a:gd name="connsiteX2" fmla="*/ 28575 w 85725"/>
                <a:gd name="connsiteY2" fmla="*/ 5358 h 123848"/>
                <a:gd name="connsiteX3" fmla="*/ 42863 w 85725"/>
                <a:gd name="connsiteY3" fmla="*/ 42886 h 123848"/>
                <a:gd name="connsiteX4" fmla="*/ 57150 w 85725"/>
                <a:gd name="connsiteY4" fmla="*/ 57174 h 123848"/>
                <a:gd name="connsiteX5" fmla="*/ 85725 w 85725"/>
                <a:gd name="connsiteY5" fmla="*/ 123849 h 123848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5725" h="123848">
                  <a:moveTo>
                    <a:pt x="0" y="42886"/>
                  </a:moveTo>
                  <a:lnTo>
                    <a:pt x="0" y="5358"/>
                  </a:lnTo>
                  <a:cubicBezTo>
                    <a:pt x="7144" y="-1786"/>
                    <a:pt x="21431" y="-1786"/>
                    <a:pt x="28575" y="5358"/>
                  </a:cubicBezTo>
                  <a:lnTo>
                    <a:pt x="42863" y="42886"/>
                  </a:lnTo>
                  <a:lnTo>
                    <a:pt x="57150" y="57174"/>
                  </a:lnTo>
                  <a:lnTo>
                    <a:pt x="85725" y="123849"/>
                  </a:lnTo>
                </a:path>
              </a:pathLst>
            </a:custGeom>
            <a:noFill/>
            <a:ln w="12700" cap="rnd">
              <a:solidFill>
                <a:srgbClr val="015a6b"/>
              </a:solidFill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  <p:sp>
          <p:nvSpPr>
            <p:cNvPr id="40" name="Freeform: Shape 144"/>
            <p:cNvSpPr/>
            <p:nvPr/>
          </p:nvSpPr>
          <p:spPr>
            <a:xfrm>
              <a:off x="2971800" y="2553462"/>
              <a:ext cx="76200" cy="19050"/>
            </a:xfrm>
            <a:custGeom>
              <a:avLst/>
              <a:gdLst>
                <a:gd name="connsiteX0" fmla="*/ 0 w 76200"/>
                <a:gd name="connsiteY0" fmla="*/ 19050 h 19050"/>
                <a:gd name="connsiteX1" fmla="*/ 38100 w 76200"/>
                <a:gd name="connsiteY1" fmla="*/ 0 h 19050"/>
                <a:gd name="connsiteX2" fmla="*/ 76200 w 76200"/>
                <a:gd name="connsiteY2" fmla="*/ 19050 h 19050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200" h="19050">
                  <a:moveTo>
                    <a:pt x="0" y="19050"/>
                  </a:moveTo>
                  <a:cubicBezTo>
                    <a:pt x="0" y="8572"/>
                    <a:pt x="17050" y="0"/>
                    <a:pt x="38100" y="0"/>
                  </a:cubicBezTo>
                  <a:cubicBezTo>
                    <a:pt x="59150" y="0"/>
                    <a:pt x="76200" y="8572"/>
                    <a:pt x="76200" y="19050"/>
                  </a:cubicBezTo>
                </a:path>
              </a:pathLst>
            </a:custGeom>
            <a:noFill/>
            <a:ln w="12700" cap="rnd">
              <a:solidFill>
                <a:srgbClr val="015a6b"/>
              </a:solidFill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  <p:sp>
          <p:nvSpPr>
            <p:cNvPr id="41" name="Freeform: Shape 145"/>
            <p:cNvSpPr/>
            <p:nvPr/>
          </p:nvSpPr>
          <p:spPr>
            <a:xfrm>
              <a:off x="2995612" y="2554795"/>
              <a:ext cx="9525" cy="89154"/>
            </a:xfrm>
            <a:custGeom>
              <a:avLst/>
              <a:gdLst>
                <a:gd name="connsiteX0" fmla="*/ 0 w 9525"/>
                <a:gd name="connsiteY0" fmla="*/ 89154 h 89154"/>
                <a:gd name="connsiteX1" fmla="*/ 0 w 9525"/>
                <a:gd name="connsiteY1" fmla="*/ 0 h 89154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89154">
                  <a:moveTo>
                    <a:pt x="0" y="89154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rgbClr val="015a6b"/>
              </a:solidFill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  <p:sp>
          <p:nvSpPr>
            <p:cNvPr id="42" name="Freeform: Shape 146"/>
            <p:cNvSpPr/>
            <p:nvPr/>
          </p:nvSpPr>
          <p:spPr>
            <a:xfrm>
              <a:off x="3024187" y="2554795"/>
              <a:ext cx="9525" cy="89154"/>
            </a:xfrm>
            <a:custGeom>
              <a:avLst/>
              <a:gdLst>
                <a:gd name="connsiteX0" fmla="*/ 0 w 9525"/>
                <a:gd name="connsiteY0" fmla="*/ 89154 h 89154"/>
                <a:gd name="connsiteX1" fmla="*/ 0 w 9525"/>
                <a:gd name="connsiteY1" fmla="*/ 0 h 89154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89154">
                  <a:moveTo>
                    <a:pt x="0" y="89154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rgbClr val="015a6b"/>
              </a:solidFill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  <p:sp>
          <p:nvSpPr>
            <p:cNvPr id="43" name="Freeform: Shape 147"/>
            <p:cNvSpPr/>
            <p:nvPr/>
          </p:nvSpPr>
          <p:spPr>
            <a:xfrm>
              <a:off x="2919412" y="2615374"/>
              <a:ext cx="28575" cy="28575"/>
            </a:xfrm>
            <a:custGeom>
              <a:avLst/>
              <a:gdLst>
                <a:gd name="connsiteX0" fmla="*/ 0 w 28575"/>
                <a:gd name="connsiteY0" fmla="*/ 28575 h 28575"/>
                <a:gd name="connsiteX1" fmla="*/ 28575 w 28575"/>
                <a:gd name="connsiteY1" fmla="*/ 0 h 28575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575" h="28575">
                  <a:moveTo>
                    <a:pt x="0" y="28575"/>
                  </a:moveTo>
                  <a:cubicBezTo>
                    <a:pt x="0" y="12763"/>
                    <a:pt x="12763" y="0"/>
                    <a:pt x="28575" y="0"/>
                  </a:cubicBezTo>
                </a:path>
              </a:pathLst>
            </a:custGeom>
            <a:noFill/>
            <a:ln w="12700" cap="rnd">
              <a:solidFill>
                <a:srgbClr val="015a6b"/>
              </a:solidFill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  <p:sp>
          <p:nvSpPr>
            <p:cNvPr id="44" name="Freeform: Shape 148"/>
            <p:cNvSpPr/>
            <p:nvPr/>
          </p:nvSpPr>
          <p:spPr>
            <a:xfrm>
              <a:off x="3043237" y="2615374"/>
              <a:ext cx="28575" cy="28575"/>
            </a:xfrm>
            <a:custGeom>
              <a:avLst/>
              <a:gdLst>
                <a:gd name="connsiteX0" fmla="*/ 0 w 28575"/>
                <a:gd name="connsiteY0" fmla="*/ 28575 h 28575"/>
                <a:gd name="connsiteX1" fmla="*/ 28575 w 28575"/>
                <a:gd name="connsiteY1" fmla="*/ 0 h 28575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575" h="28575">
                  <a:moveTo>
                    <a:pt x="0" y="28575"/>
                  </a:moveTo>
                  <a:cubicBezTo>
                    <a:pt x="0" y="12763"/>
                    <a:pt x="12763" y="0"/>
                    <a:pt x="28575" y="0"/>
                  </a:cubicBezTo>
                </a:path>
              </a:pathLst>
            </a:custGeom>
            <a:noFill/>
            <a:ln w="12700" cap="rnd">
              <a:solidFill>
                <a:srgbClr val="015a6b"/>
              </a:solidFill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</p:grpSp>
      <p:grpSp>
        <p:nvGrpSpPr>
          <p:cNvPr id="45" name="Graphic 10"/>
          <p:cNvGrpSpPr/>
          <p:nvPr/>
        </p:nvGrpSpPr>
        <p:grpSpPr>
          <a:xfrm rot="0">
            <a:off x="8059321" y="3491947"/>
            <a:ext cx="476254" cy="331306"/>
            <a:chOff x="10901362" y="4286630"/>
            <a:chExt cx="219075" cy="152400"/>
          </a:xfrm>
          <a:noFill/>
        </p:grpSpPr>
        <p:sp>
          <p:nvSpPr>
            <p:cNvPr id="46" name="Freeform: Shape 150"/>
            <p:cNvSpPr/>
            <p:nvPr/>
          </p:nvSpPr>
          <p:spPr>
            <a:xfrm>
              <a:off x="10996612" y="4381880"/>
              <a:ext cx="28575" cy="28575"/>
            </a:xfrm>
            <a:custGeom>
              <a:avLst/>
              <a:gdLst>
                <a:gd name="connsiteX0" fmla="*/ 28575 w 28575"/>
                <a:gd name="connsiteY0" fmla="*/ 14288 h 28575"/>
                <a:gd name="connsiteX1" fmla="*/ 14288 w 28575"/>
                <a:gd name="connsiteY1" fmla="*/ 28575 h 28575"/>
                <a:gd name="connsiteX2" fmla="*/ 0 w 28575"/>
                <a:gd name="connsiteY2" fmla="*/ 14288 h 28575"/>
                <a:gd name="connsiteX3" fmla="*/ 14288 w 28575"/>
                <a:gd name="connsiteY3" fmla="*/ 0 h 28575"/>
                <a:gd name="connsiteX4" fmla="*/ 28575 w 28575"/>
                <a:gd name="connsiteY4" fmla="*/ 14288 h 28575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575" h="28575">
                  <a:moveTo>
                    <a:pt x="28575" y="14288"/>
                  </a:moveTo>
                  <a:cubicBezTo>
                    <a:pt x="28575" y="22178"/>
                    <a:pt x="22178" y="28575"/>
                    <a:pt x="14288" y="28575"/>
                  </a:cubicBezTo>
                  <a:cubicBezTo>
                    <a:pt x="6397" y="28575"/>
                    <a:pt x="0" y="22178"/>
                    <a:pt x="0" y="14288"/>
                  </a:cubicBezTo>
                  <a:cubicBezTo>
                    <a:pt x="0" y="6397"/>
                    <a:pt x="6397" y="0"/>
                    <a:pt x="14288" y="0"/>
                  </a:cubicBezTo>
                  <a:cubicBezTo>
                    <a:pt x="22178" y="0"/>
                    <a:pt x="28575" y="6397"/>
                    <a:pt x="28575" y="14288"/>
                  </a:cubicBezTo>
                  <a:close/>
                </a:path>
              </a:pathLst>
            </a:custGeom>
            <a:noFill/>
            <a:ln w="12700" cap="rnd">
              <a:solidFill>
                <a:srgbClr val="015a6b"/>
              </a:solidFill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  <p:sp>
          <p:nvSpPr>
            <p:cNvPr id="47" name="Freeform: Shape 151"/>
            <p:cNvSpPr/>
            <p:nvPr/>
          </p:nvSpPr>
          <p:spPr>
            <a:xfrm>
              <a:off x="11020996" y="4338922"/>
              <a:ext cx="47148" cy="47148"/>
            </a:xfrm>
            <a:custGeom>
              <a:avLst/>
              <a:gdLst>
                <a:gd name="connsiteX0" fmla="*/ 0 w 47148"/>
                <a:gd name="connsiteY0" fmla="*/ 47149 h 47148"/>
                <a:gd name="connsiteX1" fmla="*/ 47149 w 47148"/>
                <a:gd name="connsiteY1" fmla="*/ 0 h 47148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148" h="47148">
                  <a:moveTo>
                    <a:pt x="0" y="47149"/>
                  </a:moveTo>
                  <a:lnTo>
                    <a:pt x="47149" y="0"/>
                  </a:lnTo>
                </a:path>
              </a:pathLst>
            </a:custGeom>
            <a:ln w="12700" cap="rnd">
              <a:solidFill>
                <a:srgbClr val="015a6b"/>
              </a:solidFill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  <p:sp>
          <p:nvSpPr>
            <p:cNvPr id="48" name="Freeform: Shape 152"/>
            <p:cNvSpPr/>
            <p:nvPr/>
          </p:nvSpPr>
          <p:spPr>
            <a:xfrm>
              <a:off x="10920412" y="4400930"/>
              <a:ext cx="19050" cy="9525"/>
            </a:xfrm>
            <a:custGeom>
              <a:avLst/>
              <a:gdLst>
                <a:gd name="connsiteX0" fmla="*/ 0 w 19050"/>
                <a:gd name="connsiteY0" fmla="*/ 0 h 9525"/>
                <a:gd name="connsiteX1" fmla="*/ 19050 w 19050"/>
                <a:gd name="connsiteY1" fmla="*/ 0 h 9525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050" h="9525">
                  <a:moveTo>
                    <a:pt x="0" y="0"/>
                  </a:moveTo>
                  <a:lnTo>
                    <a:pt x="19050" y="0"/>
                  </a:lnTo>
                </a:path>
              </a:pathLst>
            </a:custGeom>
            <a:ln w="12700" cap="rnd">
              <a:solidFill>
                <a:srgbClr val="015a6b"/>
              </a:solidFill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  <p:sp>
          <p:nvSpPr>
            <p:cNvPr id="49" name="Freeform: Shape 153"/>
            <p:cNvSpPr/>
            <p:nvPr/>
          </p:nvSpPr>
          <p:spPr>
            <a:xfrm>
              <a:off x="11082337" y="4400930"/>
              <a:ext cx="19050" cy="9525"/>
            </a:xfrm>
            <a:custGeom>
              <a:avLst/>
              <a:gdLst>
                <a:gd name="connsiteX0" fmla="*/ 19050 w 19050"/>
                <a:gd name="connsiteY0" fmla="*/ 0 h 9525"/>
                <a:gd name="connsiteX1" fmla="*/ 0 w 19050"/>
                <a:gd name="connsiteY1" fmla="*/ 0 h 9525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050" h="9525">
                  <a:moveTo>
                    <a:pt x="19050" y="0"/>
                  </a:moveTo>
                  <a:lnTo>
                    <a:pt x="0" y="0"/>
                  </a:lnTo>
                </a:path>
              </a:pathLst>
            </a:custGeom>
            <a:ln w="12700" cap="rnd">
              <a:solidFill>
                <a:srgbClr val="015a6b"/>
              </a:solidFill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  <p:sp>
          <p:nvSpPr>
            <p:cNvPr id="50" name="Freeform: Shape 154"/>
            <p:cNvSpPr/>
            <p:nvPr/>
          </p:nvSpPr>
          <p:spPr>
            <a:xfrm>
              <a:off x="11076908" y="4361592"/>
              <a:ext cx="17621" cy="7239"/>
            </a:xfrm>
            <a:custGeom>
              <a:avLst/>
              <a:gdLst>
                <a:gd name="connsiteX0" fmla="*/ 17621 w 17621"/>
                <a:gd name="connsiteY0" fmla="*/ 0 h 7239"/>
                <a:gd name="connsiteX1" fmla="*/ 0 w 17621"/>
                <a:gd name="connsiteY1" fmla="*/ 7239 h 7239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621" h="7239">
                  <a:moveTo>
                    <a:pt x="17621" y="0"/>
                  </a:moveTo>
                  <a:lnTo>
                    <a:pt x="0" y="7239"/>
                  </a:lnTo>
                </a:path>
              </a:pathLst>
            </a:custGeom>
            <a:ln w="12700" cap="rnd">
              <a:solidFill>
                <a:srgbClr val="015a6b"/>
              </a:solidFill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  <p:sp>
          <p:nvSpPr>
            <p:cNvPr id="51" name="Freeform: Shape 155"/>
            <p:cNvSpPr/>
            <p:nvPr/>
          </p:nvSpPr>
          <p:spPr>
            <a:xfrm>
              <a:off x="11038236" y="4312633"/>
              <a:ext cx="7238" cy="17525"/>
            </a:xfrm>
            <a:custGeom>
              <a:avLst/>
              <a:gdLst>
                <a:gd name="connsiteX0" fmla="*/ 7239 w 7238"/>
                <a:gd name="connsiteY0" fmla="*/ 0 h 17525"/>
                <a:gd name="connsiteX1" fmla="*/ 0 w 7238"/>
                <a:gd name="connsiteY1" fmla="*/ 17526 h 17525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38" h="17525">
                  <a:moveTo>
                    <a:pt x="7239" y="0"/>
                  </a:moveTo>
                  <a:lnTo>
                    <a:pt x="0" y="17526"/>
                  </a:lnTo>
                </a:path>
              </a:pathLst>
            </a:custGeom>
            <a:ln w="12700" cap="rnd">
              <a:solidFill>
                <a:srgbClr val="015a6b"/>
              </a:solidFill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  <p:sp>
          <p:nvSpPr>
            <p:cNvPr id="52" name="Freeform: Shape 156"/>
            <p:cNvSpPr/>
            <p:nvPr/>
          </p:nvSpPr>
          <p:spPr>
            <a:xfrm>
              <a:off x="11010900" y="4305680"/>
              <a:ext cx="9525" cy="19050"/>
            </a:xfrm>
            <a:custGeom>
              <a:avLst/>
              <a:gdLst>
                <a:gd name="connsiteX0" fmla="*/ 0 w 9525"/>
                <a:gd name="connsiteY0" fmla="*/ 0 h 19050"/>
                <a:gd name="connsiteX1" fmla="*/ 0 w 9525"/>
                <a:gd name="connsiteY1" fmla="*/ 19050 h 19050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19050">
                  <a:moveTo>
                    <a:pt x="0" y="0"/>
                  </a:moveTo>
                  <a:lnTo>
                    <a:pt x="0" y="19050"/>
                  </a:lnTo>
                </a:path>
              </a:pathLst>
            </a:custGeom>
            <a:ln w="12700" cap="rnd">
              <a:solidFill>
                <a:srgbClr val="015a6b"/>
              </a:solidFill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  <p:sp>
          <p:nvSpPr>
            <p:cNvPr id="53" name="Freeform: Shape 157"/>
            <p:cNvSpPr/>
            <p:nvPr/>
          </p:nvSpPr>
          <p:spPr>
            <a:xfrm>
              <a:off x="10976324" y="4312633"/>
              <a:ext cx="7238" cy="17525"/>
            </a:xfrm>
            <a:custGeom>
              <a:avLst/>
              <a:gdLst>
                <a:gd name="connsiteX0" fmla="*/ 0 w 7238"/>
                <a:gd name="connsiteY0" fmla="*/ 0 h 17525"/>
                <a:gd name="connsiteX1" fmla="*/ 7239 w 7238"/>
                <a:gd name="connsiteY1" fmla="*/ 17526 h 17525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38" h="17525">
                  <a:moveTo>
                    <a:pt x="0" y="0"/>
                  </a:moveTo>
                  <a:lnTo>
                    <a:pt x="7239" y="17526"/>
                  </a:lnTo>
                </a:path>
              </a:pathLst>
            </a:custGeom>
            <a:ln w="12700" cap="rnd">
              <a:solidFill>
                <a:srgbClr val="015a6b"/>
              </a:solidFill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  <p:sp>
          <p:nvSpPr>
            <p:cNvPr id="54" name="Freeform: Shape 158"/>
            <p:cNvSpPr/>
            <p:nvPr/>
          </p:nvSpPr>
          <p:spPr>
            <a:xfrm>
              <a:off x="10946892" y="4332255"/>
              <a:ext cx="13525" cy="13430"/>
            </a:xfrm>
            <a:custGeom>
              <a:avLst/>
              <a:gdLst>
                <a:gd name="connsiteX0" fmla="*/ 0 w 13525"/>
                <a:gd name="connsiteY0" fmla="*/ 0 h 13430"/>
                <a:gd name="connsiteX1" fmla="*/ 13526 w 13525"/>
                <a:gd name="connsiteY1" fmla="*/ 13430 h 13430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525" h="13430">
                  <a:moveTo>
                    <a:pt x="0" y="0"/>
                  </a:moveTo>
                  <a:lnTo>
                    <a:pt x="13526" y="13430"/>
                  </a:lnTo>
                </a:path>
              </a:pathLst>
            </a:custGeom>
            <a:ln w="12700" cap="rnd">
              <a:solidFill>
                <a:srgbClr val="015a6b"/>
              </a:solidFill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  <p:sp>
          <p:nvSpPr>
            <p:cNvPr id="55" name="Freeform: Shape 159"/>
            <p:cNvSpPr/>
            <p:nvPr/>
          </p:nvSpPr>
          <p:spPr>
            <a:xfrm>
              <a:off x="10927270" y="4361592"/>
              <a:ext cx="17621" cy="7239"/>
            </a:xfrm>
            <a:custGeom>
              <a:avLst/>
              <a:gdLst>
                <a:gd name="connsiteX0" fmla="*/ 0 w 17621"/>
                <a:gd name="connsiteY0" fmla="*/ 0 h 7239"/>
                <a:gd name="connsiteX1" fmla="*/ 17621 w 17621"/>
                <a:gd name="connsiteY1" fmla="*/ 7239 h 7239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621" h="7239">
                  <a:moveTo>
                    <a:pt x="0" y="0"/>
                  </a:moveTo>
                  <a:lnTo>
                    <a:pt x="17621" y="7239"/>
                  </a:lnTo>
                </a:path>
              </a:pathLst>
            </a:custGeom>
            <a:ln w="12700" cap="rnd">
              <a:solidFill>
                <a:srgbClr val="015a6b"/>
              </a:solidFill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  <p:sp>
          <p:nvSpPr>
            <p:cNvPr id="56" name="Freeform: Shape 160"/>
            <p:cNvSpPr/>
            <p:nvPr/>
          </p:nvSpPr>
          <p:spPr>
            <a:xfrm>
              <a:off x="10901362" y="4286630"/>
              <a:ext cx="219075" cy="152400"/>
            </a:xfrm>
            <a:custGeom>
              <a:avLst/>
              <a:gdLst>
                <a:gd name="connsiteX0" fmla="*/ 109538 w 219075"/>
                <a:gd name="connsiteY0" fmla="*/ 0 h 152400"/>
                <a:gd name="connsiteX1" fmla="*/ 0 w 219075"/>
                <a:gd name="connsiteY1" fmla="*/ 109538 h 152400"/>
                <a:gd name="connsiteX2" fmla="*/ 0 w 219075"/>
                <a:gd name="connsiteY2" fmla="*/ 152400 h 152400"/>
                <a:gd name="connsiteX3" fmla="*/ 219075 w 219075"/>
                <a:gd name="connsiteY3" fmla="*/ 152400 h 152400"/>
                <a:gd name="connsiteX4" fmla="*/ 219075 w 219075"/>
                <a:gd name="connsiteY4" fmla="*/ 109538 h 152400"/>
                <a:gd name="connsiteX5" fmla="*/ 109538 w 219075"/>
                <a:gd name="connsiteY5" fmla="*/ 0 h 152400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9075" h="152400">
                  <a:moveTo>
                    <a:pt x="109538" y="0"/>
                  </a:moveTo>
                  <a:cubicBezTo>
                    <a:pt x="49054" y="0"/>
                    <a:pt x="0" y="49054"/>
                    <a:pt x="0" y="109538"/>
                  </a:cubicBezTo>
                  <a:lnTo>
                    <a:pt x="0" y="152400"/>
                  </a:lnTo>
                  <a:lnTo>
                    <a:pt x="219075" y="152400"/>
                  </a:lnTo>
                  <a:lnTo>
                    <a:pt x="219075" y="109538"/>
                  </a:lnTo>
                  <a:cubicBezTo>
                    <a:pt x="219075" y="49054"/>
                    <a:pt x="170021" y="0"/>
                    <a:pt x="109538" y="0"/>
                  </a:cubicBezTo>
                  <a:close/>
                </a:path>
              </a:pathLst>
            </a:custGeom>
            <a:noFill/>
            <a:ln w="12700" cap="rnd">
              <a:solidFill>
                <a:srgbClr val="015a6b"/>
              </a:solidFill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</p:grpSp>
      <p:grpSp>
        <p:nvGrpSpPr>
          <p:cNvPr id="57" name="Graphic 8"/>
          <p:cNvGrpSpPr/>
          <p:nvPr/>
        </p:nvGrpSpPr>
        <p:grpSpPr>
          <a:xfrm rot="0">
            <a:off x="5930482" y="3419476"/>
            <a:ext cx="476256" cy="476250"/>
            <a:chOff x="2443162" y="4500944"/>
            <a:chExt cx="219075" cy="219075"/>
          </a:xfrm>
          <a:noFill/>
        </p:grpSpPr>
        <p:sp>
          <p:nvSpPr>
            <p:cNvPr id="58" name="Freeform: Shape 162"/>
            <p:cNvSpPr/>
            <p:nvPr/>
          </p:nvSpPr>
          <p:spPr>
            <a:xfrm>
              <a:off x="2443162" y="4519994"/>
              <a:ext cx="219075" cy="200025"/>
            </a:xfrm>
            <a:custGeom>
              <a:avLst/>
              <a:gdLst>
                <a:gd name="connsiteX0" fmla="*/ 38100 w 219075"/>
                <a:gd name="connsiteY0" fmla="*/ 0 h 200025"/>
                <a:gd name="connsiteX1" fmla="*/ 0 w 219075"/>
                <a:gd name="connsiteY1" fmla="*/ 0 h 200025"/>
                <a:gd name="connsiteX2" fmla="*/ 0 w 219075"/>
                <a:gd name="connsiteY2" fmla="*/ 200025 h 200025"/>
                <a:gd name="connsiteX3" fmla="*/ 219075 w 219075"/>
                <a:gd name="connsiteY3" fmla="*/ 200025 h 200025"/>
                <a:gd name="connsiteX4" fmla="*/ 219075 w 219075"/>
                <a:gd name="connsiteY4" fmla="*/ 0 h 200025"/>
                <a:gd name="connsiteX5" fmla="*/ 180975 w 219075"/>
                <a:gd name="connsiteY5" fmla="*/ 0 h 200025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9075" h="200025">
                  <a:moveTo>
                    <a:pt x="38100" y="0"/>
                  </a:moveTo>
                  <a:lnTo>
                    <a:pt x="0" y="0"/>
                  </a:lnTo>
                  <a:lnTo>
                    <a:pt x="0" y="200025"/>
                  </a:lnTo>
                  <a:lnTo>
                    <a:pt x="219075" y="200025"/>
                  </a:lnTo>
                  <a:lnTo>
                    <a:pt x="219075" y="0"/>
                  </a:lnTo>
                  <a:lnTo>
                    <a:pt x="180975" y="0"/>
                  </a:lnTo>
                </a:path>
              </a:pathLst>
            </a:custGeom>
            <a:noFill/>
            <a:ln w="12700" cap="rnd">
              <a:solidFill>
                <a:srgbClr val="015a6b"/>
              </a:solidFill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  <p:sp>
          <p:nvSpPr>
            <p:cNvPr id="59" name="Freeform: Shape 163"/>
            <p:cNvSpPr/>
            <p:nvPr/>
          </p:nvSpPr>
          <p:spPr>
            <a:xfrm>
              <a:off x="2481262" y="4500944"/>
              <a:ext cx="28575" cy="38100"/>
            </a:xfrm>
            <a:custGeom>
              <a:avLst/>
              <a:gdLst>
                <a:gd name="connsiteX0" fmla="*/ 0 w 28575"/>
                <a:gd name="connsiteY0" fmla="*/ 0 h 38100"/>
                <a:gd name="connsiteX1" fmla="*/ 28575 w 28575"/>
                <a:gd name="connsiteY1" fmla="*/ 0 h 38100"/>
                <a:gd name="connsiteX2" fmla="*/ 28575 w 28575"/>
                <a:gd name="connsiteY2" fmla="*/ 38100 h 38100"/>
                <a:gd name="connsiteX3" fmla="*/ 0 w 28575"/>
                <a:gd name="connsiteY3" fmla="*/ 38100 h 38100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38100">
                  <a:moveTo>
                    <a:pt x="0" y="0"/>
                  </a:moveTo>
                  <a:lnTo>
                    <a:pt x="28575" y="0"/>
                  </a:lnTo>
                  <a:lnTo>
                    <a:pt x="28575" y="38100"/>
                  </a:lnTo>
                  <a:lnTo>
                    <a:pt x="0" y="38100"/>
                  </a:lnTo>
                  <a:close/>
                </a:path>
              </a:pathLst>
            </a:custGeom>
            <a:noFill/>
            <a:ln w="12700" cap="rnd">
              <a:solidFill>
                <a:srgbClr val="015a6b"/>
              </a:solidFill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  <p:sp>
          <p:nvSpPr>
            <p:cNvPr id="60" name="Freeform: Shape 164"/>
            <p:cNvSpPr/>
            <p:nvPr/>
          </p:nvSpPr>
          <p:spPr>
            <a:xfrm>
              <a:off x="2595562" y="4500944"/>
              <a:ext cx="28575" cy="38100"/>
            </a:xfrm>
            <a:custGeom>
              <a:avLst/>
              <a:gdLst>
                <a:gd name="connsiteX0" fmla="*/ 0 w 28575"/>
                <a:gd name="connsiteY0" fmla="*/ 0 h 38100"/>
                <a:gd name="connsiteX1" fmla="*/ 28575 w 28575"/>
                <a:gd name="connsiteY1" fmla="*/ 0 h 38100"/>
                <a:gd name="connsiteX2" fmla="*/ 28575 w 28575"/>
                <a:gd name="connsiteY2" fmla="*/ 38100 h 38100"/>
                <a:gd name="connsiteX3" fmla="*/ 0 w 28575"/>
                <a:gd name="connsiteY3" fmla="*/ 38100 h 38100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38100">
                  <a:moveTo>
                    <a:pt x="0" y="0"/>
                  </a:moveTo>
                  <a:lnTo>
                    <a:pt x="28575" y="0"/>
                  </a:lnTo>
                  <a:lnTo>
                    <a:pt x="28575" y="38100"/>
                  </a:lnTo>
                  <a:lnTo>
                    <a:pt x="0" y="38100"/>
                  </a:lnTo>
                  <a:close/>
                </a:path>
              </a:pathLst>
            </a:custGeom>
            <a:noFill/>
            <a:ln w="12700" cap="rnd">
              <a:solidFill>
                <a:srgbClr val="015a6b"/>
              </a:solidFill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  <p:sp>
          <p:nvSpPr>
            <p:cNvPr id="61" name="Freeform: Shape 165"/>
            <p:cNvSpPr/>
            <p:nvPr/>
          </p:nvSpPr>
          <p:spPr>
            <a:xfrm>
              <a:off x="2509837" y="4519994"/>
              <a:ext cx="85725" cy="9525"/>
            </a:xfrm>
            <a:custGeom>
              <a:avLst/>
              <a:gdLst>
                <a:gd name="connsiteX0" fmla="*/ 0 w 85725"/>
                <a:gd name="connsiteY0" fmla="*/ 0 h 9525"/>
                <a:gd name="connsiteX1" fmla="*/ 85725 w 85725"/>
                <a:gd name="connsiteY1" fmla="*/ 0 h 9525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725" h="9525">
                  <a:moveTo>
                    <a:pt x="0" y="0"/>
                  </a:moveTo>
                  <a:lnTo>
                    <a:pt x="85725" y="0"/>
                  </a:lnTo>
                </a:path>
              </a:pathLst>
            </a:custGeom>
            <a:ln w="12700" cap="rnd">
              <a:solidFill>
                <a:srgbClr val="015a6b"/>
              </a:solidFill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  <p:sp>
          <p:nvSpPr>
            <p:cNvPr id="62" name="Freeform: Shape 166"/>
            <p:cNvSpPr/>
            <p:nvPr/>
          </p:nvSpPr>
          <p:spPr>
            <a:xfrm>
              <a:off x="2443162" y="4567619"/>
              <a:ext cx="219075" cy="9525"/>
            </a:xfrm>
            <a:custGeom>
              <a:avLst/>
              <a:gdLst>
                <a:gd name="connsiteX0" fmla="*/ 0 w 219075"/>
                <a:gd name="connsiteY0" fmla="*/ 0 h 9525"/>
                <a:gd name="connsiteX1" fmla="*/ 219075 w 219075"/>
                <a:gd name="connsiteY1" fmla="*/ 0 h 9525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9075" h="9525">
                  <a:moveTo>
                    <a:pt x="0" y="0"/>
                  </a:moveTo>
                  <a:lnTo>
                    <a:pt x="219075" y="0"/>
                  </a:lnTo>
                </a:path>
              </a:pathLst>
            </a:custGeom>
            <a:ln w="12700" cap="rnd">
              <a:solidFill>
                <a:srgbClr val="015a6b"/>
              </a:solidFill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  <p:sp>
          <p:nvSpPr>
            <p:cNvPr id="63" name="Freeform: Shape 167"/>
            <p:cNvSpPr/>
            <p:nvPr/>
          </p:nvSpPr>
          <p:spPr>
            <a:xfrm>
              <a:off x="2500312" y="4586669"/>
              <a:ext cx="9525" cy="114300"/>
            </a:xfrm>
            <a:custGeom>
              <a:avLst/>
              <a:gdLst>
                <a:gd name="connsiteX0" fmla="*/ 0 w 9525"/>
                <a:gd name="connsiteY0" fmla="*/ 0 h 114300"/>
                <a:gd name="connsiteX1" fmla="*/ 0 w 9525"/>
                <a:gd name="connsiteY1" fmla="*/ 114300 h 114300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114300">
                  <a:moveTo>
                    <a:pt x="0" y="0"/>
                  </a:moveTo>
                  <a:lnTo>
                    <a:pt x="0" y="114300"/>
                  </a:lnTo>
                </a:path>
              </a:pathLst>
            </a:custGeom>
            <a:ln w="12700" cap="rnd">
              <a:solidFill>
                <a:srgbClr val="015a6b"/>
              </a:solidFill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  <p:sp>
          <p:nvSpPr>
            <p:cNvPr id="64" name="Freeform: Shape 168"/>
            <p:cNvSpPr/>
            <p:nvPr/>
          </p:nvSpPr>
          <p:spPr>
            <a:xfrm>
              <a:off x="2547937" y="4586669"/>
              <a:ext cx="9525" cy="114300"/>
            </a:xfrm>
            <a:custGeom>
              <a:avLst/>
              <a:gdLst>
                <a:gd name="connsiteX0" fmla="*/ 0 w 9525"/>
                <a:gd name="connsiteY0" fmla="*/ 0 h 114300"/>
                <a:gd name="connsiteX1" fmla="*/ 0 w 9525"/>
                <a:gd name="connsiteY1" fmla="*/ 114300 h 114300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114300">
                  <a:moveTo>
                    <a:pt x="0" y="0"/>
                  </a:moveTo>
                  <a:lnTo>
                    <a:pt x="0" y="114300"/>
                  </a:lnTo>
                </a:path>
              </a:pathLst>
            </a:custGeom>
            <a:ln w="12700" cap="rnd">
              <a:solidFill>
                <a:srgbClr val="015a6b"/>
              </a:solidFill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  <p:sp>
          <p:nvSpPr>
            <p:cNvPr id="65" name="Freeform: Shape 169"/>
            <p:cNvSpPr/>
            <p:nvPr/>
          </p:nvSpPr>
          <p:spPr>
            <a:xfrm>
              <a:off x="2595562" y="4586669"/>
              <a:ext cx="9525" cy="114300"/>
            </a:xfrm>
            <a:custGeom>
              <a:avLst/>
              <a:gdLst>
                <a:gd name="connsiteX0" fmla="*/ 0 w 9525"/>
                <a:gd name="connsiteY0" fmla="*/ 0 h 114300"/>
                <a:gd name="connsiteX1" fmla="*/ 0 w 9525"/>
                <a:gd name="connsiteY1" fmla="*/ 114300 h 114300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114300">
                  <a:moveTo>
                    <a:pt x="0" y="0"/>
                  </a:moveTo>
                  <a:lnTo>
                    <a:pt x="0" y="114300"/>
                  </a:lnTo>
                </a:path>
              </a:pathLst>
            </a:custGeom>
            <a:ln w="12700" cap="rnd">
              <a:solidFill>
                <a:srgbClr val="015a6b"/>
              </a:solidFill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  <p:sp>
          <p:nvSpPr>
            <p:cNvPr id="66" name="Freeform: Shape 170"/>
            <p:cNvSpPr/>
            <p:nvPr/>
          </p:nvSpPr>
          <p:spPr>
            <a:xfrm>
              <a:off x="2462212" y="4605719"/>
              <a:ext cx="180975" cy="9525"/>
            </a:xfrm>
            <a:custGeom>
              <a:avLst/>
              <a:gdLst>
                <a:gd name="connsiteX0" fmla="*/ 0 w 180975"/>
                <a:gd name="connsiteY0" fmla="*/ 0 h 9525"/>
                <a:gd name="connsiteX1" fmla="*/ 180975 w 180975"/>
                <a:gd name="connsiteY1" fmla="*/ 0 h 9525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0975" h="9525">
                  <a:moveTo>
                    <a:pt x="0" y="0"/>
                  </a:moveTo>
                  <a:lnTo>
                    <a:pt x="180975" y="0"/>
                  </a:lnTo>
                </a:path>
              </a:pathLst>
            </a:custGeom>
            <a:ln w="12700" cap="rnd">
              <a:solidFill>
                <a:srgbClr val="015a6b"/>
              </a:solidFill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  <p:sp>
          <p:nvSpPr>
            <p:cNvPr id="67" name="Freeform: Shape 171"/>
            <p:cNvSpPr/>
            <p:nvPr/>
          </p:nvSpPr>
          <p:spPr>
            <a:xfrm>
              <a:off x="2462212" y="4643819"/>
              <a:ext cx="180975" cy="9525"/>
            </a:xfrm>
            <a:custGeom>
              <a:avLst/>
              <a:gdLst>
                <a:gd name="connsiteX0" fmla="*/ 0 w 180975"/>
                <a:gd name="connsiteY0" fmla="*/ 0 h 9525"/>
                <a:gd name="connsiteX1" fmla="*/ 180975 w 180975"/>
                <a:gd name="connsiteY1" fmla="*/ 0 h 9525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0975" h="9525">
                  <a:moveTo>
                    <a:pt x="0" y="0"/>
                  </a:moveTo>
                  <a:lnTo>
                    <a:pt x="180975" y="0"/>
                  </a:lnTo>
                </a:path>
              </a:pathLst>
            </a:custGeom>
            <a:ln w="12700" cap="rnd">
              <a:solidFill>
                <a:srgbClr val="015a6b"/>
              </a:solidFill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  <p:sp>
          <p:nvSpPr>
            <p:cNvPr id="68" name="Freeform: Shape 172"/>
            <p:cNvSpPr/>
            <p:nvPr/>
          </p:nvSpPr>
          <p:spPr>
            <a:xfrm>
              <a:off x="2462212" y="4681919"/>
              <a:ext cx="180975" cy="9525"/>
            </a:xfrm>
            <a:custGeom>
              <a:avLst/>
              <a:gdLst>
                <a:gd name="connsiteX0" fmla="*/ 0 w 180975"/>
                <a:gd name="connsiteY0" fmla="*/ 0 h 9525"/>
                <a:gd name="connsiteX1" fmla="*/ 180975 w 180975"/>
                <a:gd name="connsiteY1" fmla="*/ 0 h 9525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0975" h="9525">
                  <a:moveTo>
                    <a:pt x="0" y="0"/>
                  </a:moveTo>
                  <a:lnTo>
                    <a:pt x="180975" y="0"/>
                  </a:lnTo>
                </a:path>
              </a:pathLst>
            </a:custGeom>
            <a:ln w="12700" cap="rnd">
              <a:solidFill>
                <a:srgbClr val="015a6b"/>
              </a:solidFill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</p:grpSp>
      <p:grpSp>
        <p:nvGrpSpPr>
          <p:cNvPr id="69" name="Graphic 8"/>
          <p:cNvGrpSpPr/>
          <p:nvPr/>
        </p:nvGrpSpPr>
        <p:grpSpPr>
          <a:xfrm rot="0">
            <a:off x="3864559" y="3419475"/>
            <a:ext cx="352016" cy="476252"/>
            <a:chOff x="9101137" y="5010530"/>
            <a:chExt cx="161925" cy="219075"/>
          </a:xfrm>
          <a:noFill/>
        </p:grpSpPr>
        <p:sp>
          <p:nvSpPr>
            <p:cNvPr id="70" name="Freeform: Shape 174"/>
            <p:cNvSpPr/>
            <p:nvPr/>
          </p:nvSpPr>
          <p:spPr>
            <a:xfrm>
              <a:off x="9101137" y="5086730"/>
              <a:ext cx="161925" cy="142875"/>
            </a:xfrm>
            <a:custGeom>
              <a:avLst/>
              <a:gdLst>
                <a:gd name="connsiteX0" fmla="*/ 161925 w 161925"/>
                <a:gd name="connsiteY0" fmla="*/ 0 h 142875"/>
                <a:gd name="connsiteX1" fmla="*/ 0 w 161925"/>
                <a:gd name="connsiteY1" fmla="*/ 0 h 142875"/>
                <a:gd name="connsiteX2" fmla="*/ 0 w 161925"/>
                <a:gd name="connsiteY2" fmla="*/ 142875 h 142875"/>
                <a:gd name="connsiteX3" fmla="*/ 104775 w 161925"/>
                <a:gd name="connsiteY3" fmla="*/ 142875 h 142875"/>
                <a:gd name="connsiteX4" fmla="*/ 161925 w 161925"/>
                <a:gd name="connsiteY4" fmla="*/ 85725 h 142875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925" h="142875">
                  <a:moveTo>
                    <a:pt x="161925" y="0"/>
                  </a:moveTo>
                  <a:lnTo>
                    <a:pt x="0" y="0"/>
                  </a:lnTo>
                  <a:lnTo>
                    <a:pt x="0" y="142875"/>
                  </a:lnTo>
                  <a:lnTo>
                    <a:pt x="104775" y="142875"/>
                  </a:lnTo>
                  <a:lnTo>
                    <a:pt x="161925" y="85725"/>
                  </a:lnTo>
                  <a:close/>
                </a:path>
              </a:pathLst>
            </a:custGeom>
            <a:noFill/>
            <a:ln w="12700" cap="rnd">
              <a:solidFill>
                <a:srgbClr val="015a6b"/>
              </a:solidFill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  <p:sp>
          <p:nvSpPr>
            <p:cNvPr id="71" name="Freeform: Shape 175"/>
            <p:cNvSpPr/>
            <p:nvPr/>
          </p:nvSpPr>
          <p:spPr>
            <a:xfrm>
              <a:off x="9205912" y="5172455"/>
              <a:ext cx="57150" cy="57150"/>
            </a:xfrm>
            <a:custGeom>
              <a:avLst/>
              <a:gdLst>
                <a:gd name="connsiteX0" fmla="*/ 0 w 57150"/>
                <a:gd name="connsiteY0" fmla="*/ 57150 h 57150"/>
                <a:gd name="connsiteX1" fmla="*/ 0 w 57150"/>
                <a:gd name="connsiteY1" fmla="*/ 0 h 57150"/>
                <a:gd name="connsiteX2" fmla="*/ 57150 w 57150"/>
                <a:gd name="connsiteY2" fmla="*/ 0 h 57150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150" h="57150">
                  <a:moveTo>
                    <a:pt x="0" y="57150"/>
                  </a:moveTo>
                  <a:lnTo>
                    <a:pt x="0" y="0"/>
                  </a:lnTo>
                  <a:lnTo>
                    <a:pt x="57150" y="0"/>
                  </a:lnTo>
                </a:path>
              </a:pathLst>
            </a:custGeom>
            <a:noFill/>
            <a:ln w="12700" cap="rnd">
              <a:solidFill>
                <a:srgbClr val="015a6b"/>
              </a:solidFill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  <p:sp>
          <p:nvSpPr>
            <p:cNvPr id="72" name="Freeform: Shape 176"/>
            <p:cNvSpPr/>
            <p:nvPr/>
          </p:nvSpPr>
          <p:spPr>
            <a:xfrm>
              <a:off x="9148762" y="5010530"/>
              <a:ext cx="57150" cy="57150"/>
            </a:xfrm>
            <a:custGeom>
              <a:avLst/>
              <a:gdLst>
                <a:gd name="connsiteX0" fmla="*/ 57150 w 57150"/>
                <a:gd name="connsiteY0" fmla="*/ 28575 h 57150"/>
                <a:gd name="connsiteX1" fmla="*/ 28575 w 57150"/>
                <a:gd name="connsiteY1" fmla="*/ 57150 h 57150"/>
                <a:gd name="connsiteX2" fmla="*/ 0 w 57150"/>
                <a:gd name="connsiteY2" fmla="*/ 28575 h 57150"/>
                <a:gd name="connsiteX3" fmla="*/ 28575 w 57150"/>
                <a:gd name="connsiteY3" fmla="*/ 0 h 57150"/>
                <a:gd name="connsiteX4" fmla="*/ 57150 w 57150"/>
                <a:gd name="connsiteY4" fmla="*/ 28575 h 57150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57150">
                  <a:moveTo>
                    <a:pt x="57150" y="28575"/>
                  </a:moveTo>
                  <a:cubicBezTo>
                    <a:pt x="57150" y="44357"/>
                    <a:pt x="44357" y="57150"/>
                    <a:pt x="28575" y="57150"/>
                  </a:cubicBezTo>
                  <a:cubicBezTo>
                    <a:pt x="12793" y="57150"/>
                    <a:pt x="0" y="44357"/>
                    <a:pt x="0" y="28575"/>
                  </a:cubicBezTo>
                  <a:cubicBezTo>
                    <a:pt x="0" y="12793"/>
                    <a:pt x="12793" y="0"/>
                    <a:pt x="28575" y="0"/>
                  </a:cubicBezTo>
                  <a:cubicBezTo>
                    <a:pt x="44357" y="0"/>
                    <a:pt x="57150" y="12793"/>
                    <a:pt x="57150" y="28575"/>
                  </a:cubicBezTo>
                  <a:close/>
                </a:path>
              </a:pathLst>
            </a:custGeom>
            <a:noFill/>
            <a:ln w="12700" cap="rnd">
              <a:solidFill>
                <a:srgbClr val="015a6b"/>
              </a:solidFill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  <p:sp>
          <p:nvSpPr>
            <p:cNvPr id="73" name="Freeform: Shape 177"/>
            <p:cNvSpPr/>
            <p:nvPr/>
          </p:nvSpPr>
          <p:spPr>
            <a:xfrm>
              <a:off x="9177337" y="5067680"/>
              <a:ext cx="9525" cy="28575"/>
            </a:xfrm>
            <a:custGeom>
              <a:avLst/>
              <a:gdLst>
                <a:gd name="connsiteX0" fmla="*/ 0 w 9525"/>
                <a:gd name="connsiteY0" fmla="*/ 0 h 28575"/>
                <a:gd name="connsiteX1" fmla="*/ 0 w 9525"/>
                <a:gd name="connsiteY1" fmla="*/ 28575 h 28575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28575">
                  <a:moveTo>
                    <a:pt x="0" y="0"/>
                  </a:moveTo>
                  <a:lnTo>
                    <a:pt x="0" y="28575"/>
                  </a:lnTo>
                </a:path>
              </a:pathLst>
            </a:custGeom>
            <a:ln w="12700" cap="rnd">
              <a:solidFill>
                <a:srgbClr val="015a6b"/>
              </a:solidFill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  <p:sp>
          <p:nvSpPr>
            <p:cNvPr id="74" name="Freeform: Shape 178"/>
            <p:cNvSpPr/>
            <p:nvPr/>
          </p:nvSpPr>
          <p:spPr>
            <a:xfrm>
              <a:off x="9177337" y="5029580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9525 w 9525"/>
                <a:gd name="connsiteY1" fmla="*/ 9525 h 9525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cubicBezTo>
                    <a:pt x="5239" y="0"/>
                    <a:pt x="9525" y="4286"/>
                    <a:pt x="9525" y="9525"/>
                  </a:cubicBezTo>
                </a:path>
              </a:pathLst>
            </a:custGeom>
            <a:noFill/>
            <a:ln w="12700" cap="rnd">
              <a:solidFill>
                <a:srgbClr val="015a6b"/>
              </a:solidFill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  <p:sp>
          <p:nvSpPr>
            <p:cNvPr id="75" name="Freeform: Shape 179"/>
            <p:cNvSpPr/>
            <p:nvPr/>
          </p:nvSpPr>
          <p:spPr>
            <a:xfrm>
              <a:off x="9134475" y="5124830"/>
              <a:ext cx="76200" cy="9525"/>
            </a:xfrm>
            <a:custGeom>
              <a:avLst/>
              <a:gdLst>
                <a:gd name="connsiteX0" fmla="*/ 0 w 76200"/>
                <a:gd name="connsiteY0" fmla="*/ 0 h 9525"/>
                <a:gd name="connsiteX1" fmla="*/ 76200 w 76200"/>
                <a:gd name="connsiteY1" fmla="*/ 0 h 9525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6200" h="9525">
                  <a:moveTo>
                    <a:pt x="0" y="0"/>
                  </a:moveTo>
                  <a:lnTo>
                    <a:pt x="76200" y="0"/>
                  </a:lnTo>
                </a:path>
              </a:pathLst>
            </a:custGeom>
            <a:ln w="12700" cap="rnd">
              <a:solidFill>
                <a:srgbClr val="015a6b"/>
              </a:solidFill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  <p:sp>
          <p:nvSpPr>
            <p:cNvPr id="76" name="Freeform: Shape 180"/>
            <p:cNvSpPr/>
            <p:nvPr/>
          </p:nvSpPr>
          <p:spPr>
            <a:xfrm>
              <a:off x="9134475" y="5153405"/>
              <a:ext cx="76200" cy="9525"/>
            </a:xfrm>
            <a:custGeom>
              <a:avLst/>
              <a:gdLst>
                <a:gd name="connsiteX0" fmla="*/ 0 w 76200"/>
                <a:gd name="connsiteY0" fmla="*/ 0 h 9525"/>
                <a:gd name="connsiteX1" fmla="*/ 76200 w 76200"/>
                <a:gd name="connsiteY1" fmla="*/ 0 h 9525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6200" h="9525">
                  <a:moveTo>
                    <a:pt x="0" y="0"/>
                  </a:moveTo>
                  <a:lnTo>
                    <a:pt x="76200" y="0"/>
                  </a:lnTo>
                </a:path>
              </a:pathLst>
            </a:custGeom>
            <a:ln w="12700" cap="rnd">
              <a:solidFill>
                <a:srgbClr val="015a6b"/>
              </a:solidFill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  <p:sp>
          <p:nvSpPr>
            <p:cNvPr id="77" name="Freeform: Shape 181"/>
            <p:cNvSpPr/>
            <p:nvPr/>
          </p:nvSpPr>
          <p:spPr>
            <a:xfrm>
              <a:off x="9134475" y="5181980"/>
              <a:ext cx="47625" cy="9525"/>
            </a:xfrm>
            <a:custGeom>
              <a:avLst/>
              <a:gdLst>
                <a:gd name="connsiteX0" fmla="*/ 0 w 47625"/>
                <a:gd name="connsiteY0" fmla="*/ 0 h 9525"/>
                <a:gd name="connsiteX1" fmla="*/ 47625 w 47625"/>
                <a:gd name="connsiteY1" fmla="*/ 0 h 9525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625" h="9525">
                  <a:moveTo>
                    <a:pt x="0" y="0"/>
                  </a:moveTo>
                  <a:lnTo>
                    <a:pt x="47625" y="0"/>
                  </a:lnTo>
                </a:path>
              </a:pathLst>
            </a:custGeom>
            <a:ln w="12700" cap="rnd">
              <a:solidFill>
                <a:srgbClr val="015a6b"/>
              </a:solidFill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</p:grpSp>
      <p:sp>
        <p:nvSpPr>
          <p:cNvPr id="78" name="Title 1"/>
          <p:cNvSpPr>
            <a:spLocks noGrp="1"/>
          </p:cNvSpPr>
          <p:nvPr>
            <p:ph type="title" idx="0"/>
          </p:nvPr>
        </p:nvSpPr>
        <p:spPr>
          <a:xfrm>
            <a:off x="619125" y="365126"/>
            <a:ext cx="10953750" cy="745218"/>
          </a:xfrm>
        </p:spPr>
        <p:txBody>
          <a:bodyPr vert="horz" lIns="0" tIns="45720" rIns="0" bIns="45720" anchor="ctr">
            <a:normAutofit/>
          </a:bodyPr>
          <a:lstStyle/>
          <a:p>
            <a:pPr lvl="0">
              <a:defRPr/>
            </a:pPr>
            <a:r>
              <a:rPr lang="en-US" altLang="ko-KR" sz="2777"/>
              <a:t>Q &amp; A</a:t>
            </a:r>
            <a:endParaRPr lang="en-US" altLang="ko-KR" sz="2777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</p:sld>
</file>

<file path=ppt/slides/slide21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text, person, computer, indoor  Description automatically generated"/>
          <p:cNvPicPr>
            <a:picLocks noChangeAspect="1"/>
          </p:cNvPicPr>
          <p:nvPr/>
        </p:nvPicPr>
        <p:blipFill rotWithShape="1">
          <a:blip r:embed="rId3"/>
          <a:srcRect/>
          <a:stretch>
            <a:fillRect/>
          </a:stretch>
        </p:blipFill>
        <p:spPr>
          <a:xfrm>
            <a:off x="0" y="0"/>
            <a:ext cx="2917371" cy="685800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0" y="0"/>
            <a:ext cx="2917371" cy="6858000"/>
          </a:xfrm>
          <a:prstGeom prst="rect">
            <a:avLst/>
          </a:prstGeom>
          <a:solidFill>
            <a:srgbClr val="015a6b">
              <a:alpha val="8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ctrTitle" idx="0"/>
          </p:nvPr>
        </p:nvSpPr>
        <p:spPr>
          <a:xfrm>
            <a:off x="6096000" y="1521919"/>
            <a:ext cx="5312229" cy="2387600"/>
          </a:xfrm>
        </p:spPr>
        <p:txBody>
          <a:bodyPr vert="horz" tIns="0" bIns="0">
            <a:noAutofit/>
          </a:bodyPr>
          <a:lstStyle/>
          <a:p>
            <a:pPr algn="l">
              <a:defRPr/>
            </a:pPr>
            <a:r>
              <a:rPr lang="ko-KR" altLang="en-US" sz="8300" b="0"/>
              <a:t>감사합니다</a:t>
            </a:r>
            <a:endParaRPr lang="ko-KR" altLang="en-US" sz="8300" b="0"/>
          </a:p>
        </p:txBody>
      </p:sp>
      <p:pic>
        <p:nvPicPr>
          <p:cNvPr id="11" name="Picture 10" descr="A picture containing text, person, computer, indoor  Description automatically generated"/>
          <p:cNvPicPr>
            <a:picLocks noChangeAspect="1"/>
          </p:cNvPicPr>
          <p:nvPr/>
        </p:nvPicPr>
        <p:blipFill rotWithShape="1">
          <a:blip r:embed="rId4"/>
          <a:srcRect/>
          <a:stretch>
            <a:fillRect/>
          </a:stretch>
        </p:blipFill>
        <p:spPr>
          <a:xfrm>
            <a:off x="783772" y="1122363"/>
            <a:ext cx="4891313" cy="4213718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20000"/>
              </a:prstClr>
            </a:outerShdw>
          </a:effectLst>
        </p:spPr>
      </p:pic>
      <p:cxnSp>
        <p:nvCxnSpPr>
          <p:cNvPr id="13" name="Straight Connector 12"/>
          <p:cNvCxnSpPr/>
          <p:nvPr/>
        </p:nvCxnSpPr>
        <p:spPr>
          <a:xfrm>
            <a:off x="6096000" y="4298816"/>
            <a:ext cx="538480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</p:sld>
</file>

<file path=ppt/slides/slide3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idx="0"/>
          </p:nvPr>
        </p:nvSpPr>
        <p:spPr>
          <a:xfrm>
            <a:off x="619125" y="365126"/>
            <a:ext cx="10953750" cy="745218"/>
          </a:xfrm>
        </p:spPr>
        <p:txBody>
          <a:bodyPr vert="horz" lIns="0" tIns="45720" rIns="0" bIns="45720" anchor="ctr">
            <a:normAutofit/>
          </a:bodyPr>
          <a:lstStyle/>
          <a:p>
            <a:pPr lvl="0">
              <a:defRPr/>
            </a:pPr>
            <a:r>
              <a:rPr lang="ko-KR" altLang="en-US" sz="2777"/>
              <a:t>제작 요약</a:t>
            </a:r>
            <a:br>
              <a:rPr lang="ko-KR" altLang="en-US" sz="2777"/>
            </a:br>
            <a:r>
              <a:rPr lang="en-US" altLang="ko-KR" sz="1500"/>
              <a:t>-</a:t>
            </a:r>
            <a:r>
              <a:rPr lang="ko-KR" altLang="en-US" sz="1500"/>
              <a:t> 제작의 목적</a:t>
            </a:r>
            <a:endParaRPr lang="ko-KR" altLang="en-US" sz="1500"/>
          </a:p>
        </p:txBody>
      </p:sp>
      <p:sp>
        <p:nvSpPr>
          <p:cNvPr id="31" name="Rectangle: Rounded Corners 6"/>
          <p:cNvSpPr/>
          <p:nvPr/>
        </p:nvSpPr>
        <p:spPr>
          <a:xfrm rot="2689381">
            <a:off x="4433455" y="2085612"/>
            <a:ext cx="3325090" cy="3325090"/>
          </a:xfrm>
          <a:prstGeom prst="roundRect">
            <a:avLst>
              <a:gd name="adj" fmla="val 4167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2" name="Rectangle 19"/>
          <p:cNvSpPr/>
          <p:nvPr/>
        </p:nvSpPr>
        <p:spPr>
          <a:xfrm rot="2689381">
            <a:off x="4680109" y="2220587"/>
            <a:ext cx="689173" cy="689173"/>
          </a:xfrm>
          <a:prstGeom prst="rect">
            <a:avLst/>
          </a:prstGeom>
          <a:solidFill>
            <a:schemeClr val="bg1"/>
          </a:solidFill>
          <a:ln w="635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36" name="Content Placeholder 16" descr="A person giving a presentation to a group of people  Description automatically generated with medium confidence"/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/>
          <a:stretch>
            <a:fillRect/>
          </a:stretch>
        </p:blipFill>
        <p:spPr>
          <a:xfrm>
            <a:off x="4010736" y="1656438"/>
            <a:ext cx="4170530" cy="4170530"/>
          </a:xfrm>
          <a:custGeom>
            <a:avLst/>
            <a:gdLst>
              <a:gd name="connsiteX0" fmla="*/ 2078824 w 4170530"/>
              <a:gd name="connsiteY0" fmla="*/ 1 h 4170530"/>
              <a:gd name="connsiteX1" fmla="*/ 2168005 w 4170530"/>
              <a:gd name="connsiteY1" fmla="*/ 36619 h 4170530"/>
              <a:gd name="connsiteX2" fmla="*/ 4133362 w 4170530"/>
              <a:gd name="connsiteY2" fmla="*/ 1989871 h 4170530"/>
              <a:gd name="connsiteX3" fmla="*/ 4133913 w 4170530"/>
              <a:gd name="connsiteY3" fmla="*/ 2168005 h 4170530"/>
              <a:gd name="connsiteX4" fmla="*/ 2180660 w 4170530"/>
              <a:gd name="connsiteY4" fmla="*/ 4133362 h 4170530"/>
              <a:gd name="connsiteX5" fmla="*/ 2002526 w 4170530"/>
              <a:gd name="connsiteY5" fmla="*/ 4133912 h 4170530"/>
              <a:gd name="connsiteX6" fmla="*/ 37169 w 4170530"/>
              <a:gd name="connsiteY6" fmla="*/ 2180660 h 4170530"/>
              <a:gd name="connsiteX7" fmla="*/ 36619 w 4170530"/>
              <a:gd name="connsiteY7" fmla="*/ 2002526 h 4170530"/>
              <a:gd name="connsiteX8" fmla="*/ 1989872 w 4170530"/>
              <a:gd name="connsiteY8" fmla="*/ 37169 h 4170530"/>
              <a:gd name="connsiteX9" fmla="*/ 2078824 w 4170530"/>
              <a:gd name="connsiteY9" fmla="*/ 1 h 4170530"/>
            </a:gdLst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170530" h="4170530">
                <a:moveTo>
                  <a:pt x="2078824" y="1"/>
                </a:moveTo>
                <a:cubicBezTo>
                  <a:pt x="2111060" y="-98"/>
                  <a:pt x="2143334" y="12100"/>
                  <a:pt x="2168005" y="36619"/>
                </a:cubicBezTo>
                <a:lnTo>
                  <a:pt x="4133362" y="1989871"/>
                </a:lnTo>
                <a:cubicBezTo>
                  <a:pt x="4182705" y="2038910"/>
                  <a:pt x="4182951" y="2118663"/>
                  <a:pt x="4133913" y="2168005"/>
                </a:cubicBezTo>
                <a:lnTo>
                  <a:pt x="2180660" y="4133362"/>
                </a:lnTo>
                <a:cubicBezTo>
                  <a:pt x="2131621" y="4182704"/>
                  <a:pt x="2051869" y="4182951"/>
                  <a:pt x="2002526" y="4133912"/>
                </a:cubicBezTo>
                <a:lnTo>
                  <a:pt x="37169" y="2180660"/>
                </a:lnTo>
                <a:cubicBezTo>
                  <a:pt x="-12173" y="2131621"/>
                  <a:pt x="-12420" y="2051868"/>
                  <a:pt x="36619" y="2002526"/>
                </a:cubicBezTo>
                <a:lnTo>
                  <a:pt x="1989872" y="37169"/>
                </a:lnTo>
                <a:cubicBezTo>
                  <a:pt x="2014391" y="12498"/>
                  <a:pt x="2046589" y="101"/>
                  <a:pt x="2078824" y="1"/>
                </a:cubicBezTo>
                <a:close/>
              </a:path>
            </a:pathLst>
          </a:custGeom>
        </p:spPr>
      </p:pic>
      <p:sp>
        <p:nvSpPr>
          <p:cNvPr id="38" name="Rectangle: Rounded Corners 7"/>
          <p:cNvSpPr/>
          <p:nvPr/>
        </p:nvSpPr>
        <p:spPr>
          <a:xfrm rot="2689381">
            <a:off x="4584597" y="2236753"/>
            <a:ext cx="3022809" cy="3022809"/>
          </a:xfrm>
          <a:prstGeom prst="roundRect">
            <a:avLst>
              <a:gd name="adj" fmla="val 4167"/>
            </a:avLst>
          </a:prstGeom>
          <a:solidFill>
            <a:srgbClr val="013641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9" name="Rectangle: Rounded Corners 8"/>
          <p:cNvSpPr/>
          <p:nvPr/>
        </p:nvSpPr>
        <p:spPr>
          <a:xfrm rot="2689381">
            <a:off x="4587255" y="2220587"/>
            <a:ext cx="689173" cy="689173"/>
          </a:xfrm>
          <a:prstGeom prst="roundRect">
            <a:avLst>
              <a:gd name="adj" fmla="val 4167"/>
            </a:avLst>
          </a:prstGeom>
          <a:solidFill>
            <a:srgbClr val="015a6b"/>
          </a:solidFill>
          <a:ln w="635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44" name="Rectangle 18"/>
          <p:cNvSpPr/>
          <p:nvPr/>
        </p:nvSpPr>
        <p:spPr>
          <a:xfrm>
            <a:off x="7791863" y="2124075"/>
            <a:ext cx="3482976" cy="55776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algn="r">
              <a:defRPr/>
            </a:pPr>
            <a:r>
              <a:rPr lang="en-US" altLang="ko-KR" b="1">
                <a:solidFill>
                  <a:srgbClr val="015a6b"/>
                </a:solidFill>
                <a:latin typeface="Segoe UI"/>
                <a:cs typeface="Segoe UI"/>
              </a:rPr>
              <a:t>GUI </a:t>
            </a:r>
            <a:r>
              <a:rPr lang="ko-KR" altLang="en-US" b="1">
                <a:solidFill>
                  <a:srgbClr val="015a6b"/>
                </a:solidFill>
                <a:latin typeface="Segoe UI"/>
                <a:cs typeface="Segoe UI"/>
              </a:rPr>
              <a:t>기반 바이너리 파일을 압축할 수 있는 프로그램 제작을 목표</a:t>
            </a:r>
            <a:endParaRPr lang="ko-KR" altLang="en-US" b="1">
              <a:solidFill>
                <a:srgbClr val="015a6b"/>
              </a:solidFill>
              <a:latin typeface="Segoe UI"/>
              <a:cs typeface="Segoe UI"/>
            </a:endParaRPr>
          </a:p>
        </p:txBody>
      </p:sp>
      <p:grpSp>
        <p:nvGrpSpPr>
          <p:cNvPr id="51" name="Group 33"/>
          <p:cNvGrpSpPr/>
          <p:nvPr/>
        </p:nvGrpSpPr>
        <p:grpSpPr>
          <a:xfrm rot="0">
            <a:off x="4744278" y="2377611"/>
            <a:ext cx="375127" cy="375125"/>
            <a:chOff x="5562600" y="3979863"/>
            <a:chExt cx="346076" cy="346075"/>
          </a:xfrm>
        </p:grpSpPr>
        <p:sp>
          <p:nvSpPr>
            <p:cNvPr id="52" name="Oval 34"/>
            <p:cNvSpPr>
              <a:spLocks noChangeArrowheads="1"/>
            </p:cNvSpPr>
            <p:nvPr/>
          </p:nvSpPr>
          <p:spPr>
            <a:xfrm>
              <a:off x="5637213" y="4160838"/>
              <a:ext cx="90488" cy="90488"/>
            </a:xfrm>
            <a:prstGeom prst="ellips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id-ID"/>
            </a:p>
          </p:txBody>
        </p:sp>
        <p:sp>
          <p:nvSpPr>
            <p:cNvPr id="53" name="Oval 35"/>
            <p:cNvSpPr>
              <a:spLocks noChangeArrowheads="1"/>
            </p:cNvSpPr>
            <p:nvPr/>
          </p:nvSpPr>
          <p:spPr>
            <a:xfrm>
              <a:off x="5818188" y="4024313"/>
              <a:ext cx="44450" cy="46038"/>
            </a:xfrm>
            <a:prstGeom prst="ellips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id-ID"/>
            </a:p>
          </p:txBody>
        </p:sp>
        <p:sp>
          <p:nvSpPr>
            <p:cNvPr id="54" name="Freeform 66"/>
            <p:cNvSpPr/>
            <p:nvPr/>
          </p:nvSpPr>
          <p:spPr>
            <a:xfrm>
              <a:off x="5562600" y="4084638"/>
              <a:ext cx="241300" cy="241300"/>
            </a:xfrm>
            <a:custGeom>
              <a:avLst/>
              <a:gdLst>
                <a:gd name="T0" fmla="*/ 58 w 64"/>
                <a:gd name="T1" fmla="*/ 32 h 64"/>
                <a:gd name="T2" fmla="*/ 57 w 64"/>
                <a:gd name="T3" fmla="*/ 27 h 64"/>
                <a:gd name="T4" fmla="*/ 64 w 64"/>
                <a:gd name="T5" fmla="*/ 23 h 64"/>
                <a:gd name="T6" fmla="*/ 56 w 64"/>
                <a:gd name="T7" fmla="*/ 9 h 64"/>
                <a:gd name="T8" fmla="*/ 50 w 64"/>
                <a:gd name="T9" fmla="*/ 13 h 64"/>
                <a:gd name="T10" fmla="*/ 40 w 64"/>
                <a:gd name="T11" fmla="*/ 7 h 64"/>
                <a:gd name="T12" fmla="*/ 40 w 64"/>
                <a:gd name="T13" fmla="*/ 0 h 64"/>
                <a:gd name="T14" fmla="*/ 24 w 64"/>
                <a:gd name="T15" fmla="*/ 0 h 64"/>
                <a:gd name="T16" fmla="*/ 24 w 64"/>
                <a:gd name="T17" fmla="*/ 7 h 64"/>
                <a:gd name="T18" fmla="*/ 15 w 64"/>
                <a:gd name="T19" fmla="*/ 13 h 64"/>
                <a:gd name="T20" fmla="*/ 8 w 64"/>
                <a:gd name="T21" fmla="*/ 9 h 64"/>
                <a:gd name="T22" fmla="*/ 0 w 64"/>
                <a:gd name="T23" fmla="*/ 23 h 64"/>
                <a:gd name="T24" fmla="*/ 7 w 64"/>
                <a:gd name="T25" fmla="*/ 27 h 64"/>
                <a:gd name="T26" fmla="*/ 6 w 64"/>
                <a:gd name="T27" fmla="*/ 32 h 64"/>
                <a:gd name="T28" fmla="*/ 7 w 64"/>
                <a:gd name="T29" fmla="*/ 37 h 64"/>
                <a:gd name="T30" fmla="*/ 0 w 64"/>
                <a:gd name="T31" fmla="*/ 41 h 64"/>
                <a:gd name="T32" fmla="*/ 8 w 64"/>
                <a:gd name="T33" fmla="*/ 55 h 64"/>
                <a:gd name="T34" fmla="*/ 15 w 64"/>
                <a:gd name="T35" fmla="*/ 51 h 64"/>
                <a:gd name="T36" fmla="*/ 24 w 64"/>
                <a:gd name="T37" fmla="*/ 57 h 64"/>
                <a:gd name="T38" fmla="*/ 24 w 64"/>
                <a:gd name="T39" fmla="*/ 64 h 64"/>
                <a:gd name="T40" fmla="*/ 40 w 64"/>
                <a:gd name="T41" fmla="*/ 64 h 64"/>
                <a:gd name="T42" fmla="*/ 40 w 64"/>
                <a:gd name="T43" fmla="*/ 57 h 64"/>
                <a:gd name="T44" fmla="*/ 50 w 64"/>
                <a:gd name="T45" fmla="*/ 51 h 64"/>
                <a:gd name="T46" fmla="*/ 56 w 64"/>
                <a:gd name="T47" fmla="*/ 55 h 64"/>
                <a:gd name="T48" fmla="*/ 64 w 64"/>
                <a:gd name="T49" fmla="*/ 41 h 64"/>
                <a:gd name="T50" fmla="*/ 57 w 64"/>
                <a:gd name="T51" fmla="*/ 37 h 64"/>
                <a:gd name="T52" fmla="*/ 58 w 64"/>
                <a:gd name="T53" fmla="*/ 32 h 64"/>
              </a:gdLst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4" h="64">
                  <a:moveTo>
                    <a:pt x="58" y="32"/>
                  </a:moveTo>
                  <a:cubicBezTo>
                    <a:pt x="58" y="30"/>
                    <a:pt x="58" y="28"/>
                    <a:pt x="57" y="27"/>
                  </a:cubicBezTo>
                  <a:quadBezTo>
                    <a:pt x="64" y="23"/>
                    <a:pt x="64" y="23"/>
                  </a:quadBezTo>
                  <a:quadBezTo>
                    <a:pt x="56" y="9"/>
                    <a:pt x="56" y="9"/>
                  </a:quadBezTo>
                  <a:quadBezTo>
                    <a:pt x="50" y="13"/>
                    <a:pt x="50" y="13"/>
                  </a:quadBezTo>
                  <a:cubicBezTo>
                    <a:pt x="47" y="10"/>
                    <a:pt x="44" y="8"/>
                    <a:pt x="40" y="7"/>
                  </a:cubicBezTo>
                  <a:quadBezTo>
                    <a:pt x="40" y="0"/>
                    <a:pt x="40" y="0"/>
                  </a:quadBezTo>
                  <a:quadBezTo>
                    <a:pt x="24" y="0"/>
                    <a:pt x="24" y="0"/>
                  </a:quadBezTo>
                  <a:quadBezTo>
                    <a:pt x="24" y="7"/>
                    <a:pt x="24" y="7"/>
                  </a:quadBezTo>
                  <a:cubicBezTo>
                    <a:pt x="20" y="8"/>
                    <a:pt x="17" y="10"/>
                    <a:pt x="15" y="13"/>
                  </a:cubicBezTo>
                  <a:quadBezTo>
                    <a:pt x="8" y="9"/>
                    <a:pt x="8" y="9"/>
                  </a:quadBezTo>
                  <a:quadBezTo>
                    <a:pt x="0" y="23"/>
                    <a:pt x="0" y="23"/>
                  </a:quadBezTo>
                  <a:quadBezTo>
                    <a:pt x="7" y="27"/>
                    <a:pt x="7" y="27"/>
                  </a:quadBezTo>
                  <a:cubicBezTo>
                    <a:pt x="6" y="28"/>
                    <a:pt x="6" y="30"/>
                    <a:pt x="6" y="32"/>
                  </a:cubicBezTo>
                  <a:cubicBezTo>
                    <a:pt x="6" y="34"/>
                    <a:pt x="6" y="36"/>
                    <a:pt x="7" y="37"/>
                  </a:cubicBezTo>
                  <a:quadBezTo>
                    <a:pt x="0" y="41"/>
                    <a:pt x="0" y="41"/>
                  </a:quadBezTo>
                  <a:quadBezTo>
                    <a:pt x="8" y="55"/>
                    <a:pt x="8" y="55"/>
                  </a:quadBezTo>
                  <a:quadBezTo>
                    <a:pt x="15" y="51"/>
                    <a:pt x="15" y="51"/>
                  </a:quadBezTo>
                  <a:cubicBezTo>
                    <a:pt x="17" y="54"/>
                    <a:pt x="20" y="56"/>
                    <a:pt x="24" y="57"/>
                  </a:cubicBezTo>
                  <a:quadBezTo>
                    <a:pt x="24" y="64"/>
                    <a:pt x="24" y="64"/>
                  </a:quadBezTo>
                  <a:quadBezTo>
                    <a:pt x="40" y="64"/>
                    <a:pt x="40" y="64"/>
                  </a:quadBezTo>
                  <a:quadBezTo>
                    <a:pt x="40" y="57"/>
                    <a:pt x="40" y="57"/>
                  </a:quadBezTo>
                  <a:cubicBezTo>
                    <a:pt x="44" y="56"/>
                    <a:pt x="47" y="54"/>
                    <a:pt x="50" y="51"/>
                  </a:cubicBezTo>
                  <a:quadBezTo>
                    <a:pt x="56" y="55"/>
                    <a:pt x="56" y="55"/>
                  </a:quadBezTo>
                  <a:quadBezTo>
                    <a:pt x="64" y="41"/>
                    <a:pt x="64" y="41"/>
                  </a:quadBezTo>
                  <a:quadBezTo>
                    <a:pt x="57" y="37"/>
                    <a:pt x="57" y="37"/>
                  </a:quadBezTo>
                  <a:cubicBezTo>
                    <a:pt x="58" y="36"/>
                    <a:pt x="58" y="34"/>
                    <a:pt x="58" y="32"/>
                  </a:cubicBez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id-ID"/>
            </a:p>
          </p:txBody>
        </p:sp>
        <p:sp>
          <p:nvSpPr>
            <p:cNvPr id="55" name="Freeform 67"/>
            <p:cNvSpPr/>
            <p:nvPr/>
          </p:nvSpPr>
          <p:spPr>
            <a:xfrm>
              <a:off x="5773738" y="3979863"/>
              <a:ext cx="134938" cy="134938"/>
            </a:xfrm>
            <a:custGeom>
              <a:avLst/>
              <a:gdLst>
                <a:gd name="T0" fmla="*/ 32 w 36"/>
                <a:gd name="T1" fmla="*/ 18 h 36"/>
                <a:gd name="T2" fmla="*/ 32 w 36"/>
                <a:gd name="T3" fmla="*/ 15 h 36"/>
                <a:gd name="T4" fmla="*/ 36 w 36"/>
                <a:gd name="T5" fmla="*/ 12 h 36"/>
                <a:gd name="T6" fmla="*/ 32 w 36"/>
                <a:gd name="T7" fmla="*/ 6 h 36"/>
                <a:gd name="T8" fmla="*/ 28 w 36"/>
                <a:gd name="T9" fmla="*/ 8 h 36"/>
                <a:gd name="T10" fmla="*/ 22 w 36"/>
                <a:gd name="T11" fmla="*/ 5 h 36"/>
                <a:gd name="T12" fmla="*/ 22 w 36"/>
                <a:gd name="T13" fmla="*/ 0 h 36"/>
                <a:gd name="T14" fmla="*/ 14 w 36"/>
                <a:gd name="T15" fmla="*/ 0 h 36"/>
                <a:gd name="T16" fmla="*/ 14 w 36"/>
                <a:gd name="T17" fmla="*/ 5 h 36"/>
                <a:gd name="T18" fmla="*/ 9 w 36"/>
                <a:gd name="T19" fmla="*/ 8 h 36"/>
                <a:gd name="T20" fmla="*/ 5 w 36"/>
                <a:gd name="T21" fmla="*/ 6 h 36"/>
                <a:gd name="T22" fmla="*/ 0 w 36"/>
                <a:gd name="T23" fmla="*/ 12 h 36"/>
                <a:gd name="T24" fmla="*/ 4 w 36"/>
                <a:gd name="T25" fmla="*/ 15 h 36"/>
                <a:gd name="T26" fmla="*/ 4 w 36"/>
                <a:gd name="T27" fmla="*/ 18 h 36"/>
                <a:gd name="T28" fmla="*/ 4 w 36"/>
                <a:gd name="T29" fmla="*/ 21 h 36"/>
                <a:gd name="T30" fmla="*/ 0 w 36"/>
                <a:gd name="T31" fmla="*/ 24 h 36"/>
                <a:gd name="T32" fmla="*/ 4 w 36"/>
                <a:gd name="T33" fmla="*/ 30 h 36"/>
                <a:gd name="T34" fmla="*/ 9 w 36"/>
                <a:gd name="T35" fmla="*/ 28 h 36"/>
                <a:gd name="T36" fmla="*/ 14 w 36"/>
                <a:gd name="T37" fmla="*/ 31 h 36"/>
                <a:gd name="T38" fmla="*/ 14 w 36"/>
                <a:gd name="T39" fmla="*/ 36 h 36"/>
                <a:gd name="T40" fmla="*/ 22 w 36"/>
                <a:gd name="T41" fmla="*/ 36 h 36"/>
                <a:gd name="T42" fmla="*/ 22 w 36"/>
                <a:gd name="T43" fmla="*/ 31 h 36"/>
                <a:gd name="T44" fmla="*/ 28 w 36"/>
                <a:gd name="T45" fmla="*/ 28 h 36"/>
                <a:gd name="T46" fmla="*/ 32 w 36"/>
                <a:gd name="T47" fmla="*/ 30 h 36"/>
                <a:gd name="T48" fmla="*/ 36 w 36"/>
                <a:gd name="T49" fmla="*/ 24 h 36"/>
                <a:gd name="T50" fmla="*/ 32 w 36"/>
                <a:gd name="T51" fmla="*/ 21 h 36"/>
                <a:gd name="T52" fmla="*/ 32 w 36"/>
                <a:gd name="T53" fmla="*/ 18 h 36"/>
              </a:gdLst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6" h="36">
                  <a:moveTo>
                    <a:pt x="32" y="18"/>
                  </a:moveTo>
                  <a:cubicBezTo>
                    <a:pt x="32" y="17"/>
                    <a:pt x="32" y="16"/>
                    <a:pt x="32" y="15"/>
                  </a:cubicBezTo>
                  <a:quadBezTo>
                    <a:pt x="36" y="12"/>
                    <a:pt x="36" y="12"/>
                  </a:quadBezTo>
                  <a:quadBezTo>
                    <a:pt x="32" y="6"/>
                    <a:pt x="32" y="6"/>
                  </a:quadBezTo>
                  <a:quadBezTo>
                    <a:pt x="28" y="8"/>
                    <a:pt x="28" y="8"/>
                  </a:quadBezTo>
                  <a:cubicBezTo>
                    <a:pt x="26" y="6"/>
                    <a:pt x="24" y="5"/>
                    <a:pt x="22" y="5"/>
                  </a:cubicBezTo>
                  <a:quadBezTo>
                    <a:pt x="22" y="0"/>
                    <a:pt x="22" y="0"/>
                  </a:quadBezTo>
                  <a:quadBezTo>
                    <a:pt x="14" y="0"/>
                    <a:pt x="14" y="0"/>
                  </a:quadBezTo>
                  <a:quadBezTo>
                    <a:pt x="14" y="5"/>
                    <a:pt x="14" y="5"/>
                  </a:quadBezTo>
                  <a:cubicBezTo>
                    <a:pt x="12" y="5"/>
                    <a:pt x="10" y="6"/>
                    <a:pt x="9" y="8"/>
                  </a:cubicBezTo>
                  <a:quadBezTo>
                    <a:pt x="5" y="6"/>
                    <a:pt x="5" y="6"/>
                  </a:quadBezTo>
                  <a:quadBezTo>
                    <a:pt x="0" y="12"/>
                    <a:pt x="0" y="12"/>
                  </a:quadBezTo>
                  <a:quadBezTo>
                    <a:pt x="4" y="15"/>
                    <a:pt x="4" y="15"/>
                  </a:quadBezTo>
                  <a:cubicBezTo>
                    <a:pt x="4" y="16"/>
                    <a:pt x="4" y="17"/>
                    <a:pt x="4" y="18"/>
                  </a:cubicBezTo>
                  <a:cubicBezTo>
                    <a:pt x="4" y="19"/>
                    <a:pt x="4" y="20"/>
                    <a:pt x="4" y="21"/>
                  </a:cubicBezTo>
                  <a:quadBezTo>
                    <a:pt x="0" y="24"/>
                    <a:pt x="0" y="24"/>
                  </a:quadBezTo>
                  <a:quadBezTo>
                    <a:pt x="4" y="30"/>
                    <a:pt x="4" y="30"/>
                  </a:quadBezTo>
                  <a:quadBezTo>
                    <a:pt x="9" y="28"/>
                    <a:pt x="9" y="28"/>
                  </a:quadBezTo>
                  <a:cubicBezTo>
                    <a:pt x="10" y="30"/>
                    <a:pt x="12" y="31"/>
                    <a:pt x="14" y="31"/>
                  </a:cubicBezTo>
                  <a:quadBezTo>
                    <a:pt x="14" y="36"/>
                    <a:pt x="14" y="36"/>
                  </a:quadBezTo>
                  <a:quadBezTo>
                    <a:pt x="22" y="36"/>
                    <a:pt x="22" y="36"/>
                  </a:quadBezTo>
                  <a:quadBezTo>
                    <a:pt x="22" y="31"/>
                    <a:pt x="22" y="31"/>
                  </a:quadBezTo>
                  <a:cubicBezTo>
                    <a:pt x="24" y="31"/>
                    <a:pt x="26" y="30"/>
                    <a:pt x="28" y="28"/>
                  </a:cubicBezTo>
                  <a:quadBezTo>
                    <a:pt x="32" y="30"/>
                    <a:pt x="32" y="30"/>
                  </a:quadBezTo>
                  <a:quadBezTo>
                    <a:pt x="36" y="24"/>
                    <a:pt x="36" y="24"/>
                  </a:quadBezTo>
                  <a:quadBezTo>
                    <a:pt x="32" y="21"/>
                    <a:pt x="32" y="21"/>
                  </a:quadBezTo>
                  <a:cubicBezTo>
                    <a:pt x="32" y="20"/>
                    <a:pt x="32" y="19"/>
                    <a:pt x="32" y="18"/>
                  </a:cubicBez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id-ID"/>
            </a:p>
          </p:txBody>
        </p: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</p:sld>
</file>

<file path=ppt/slides/slide4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idx="0"/>
          </p:nvPr>
        </p:nvSpPr>
        <p:spPr>
          <a:xfrm>
            <a:off x="619125" y="365126"/>
            <a:ext cx="10953750" cy="745218"/>
          </a:xfrm>
        </p:spPr>
        <p:txBody>
          <a:bodyPr vert="horz" lIns="0" tIns="45720" rIns="0" bIns="45720" anchor="ctr">
            <a:normAutofit/>
          </a:bodyPr>
          <a:lstStyle/>
          <a:p>
            <a:pPr lvl="0">
              <a:defRPr/>
            </a:pPr>
            <a:r>
              <a:rPr lang="ko-KR" altLang="en-US" sz="2777"/>
              <a:t>제작 요약</a:t>
            </a:r>
            <a:br>
              <a:rPr lang="ko-KR" altLang="en-US" sz="2777"/>
            </a:br>
            <a:r>
              <a:rPr lang="en-US" altLang="ko-KR" sz="1500"/>
              <a:t>-</a:t>
            </a:r>
            <a:r>
              <a:rPr lang="ko-KR" altLang="en-US" sz="1500"/>
              <a:t> 절차 및 결과</a:t>
            </a:r>
            <a:endParaRPr lang="ko-KR" altLang="en-US" sz="1500"/>
          </a:p>
        </p:txBody>
      </p:sp>
      <p:sp>
        <p:nvSpPr>
          <p:cNvPr id="5" name="Rectangle 17"/>
          <p:cNvSpPr/>
          <p:nvPr/>
        </p:nvSpPr>
        <p:spPr>
          <a:xfrm>
            <a:off x="2613976" y="2125245"/>
            <a:ext cx="2633518" cy="34224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6" name="Rectangle 13"/>
          <p:cNvSpPr/>
          <p:nvPr/>
        </p:nvSpPr>
        <p:spPr>
          <a:xfrm>
            <a:off x="2613968" y="1941733"/>
            <a:ext cx="2633526" cy="548640"/>
          </a:xfrm>
          <a:prstGeom prst="rect">
            <a:avLst/>
          </a:prstGeom>
          <a:solidFill>
            <a:srgbClr val="0136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ko-KR" altLang="en-US" sz="1600" b="1">
                <a:solidFill>
                  <a:schemeClr val="bg1"/>
                </a:solidFill>
                <a:latin typeface="Segoe UI"/>
                <a:cs typeface="Segoe UI"/>
              </a:rPr>
              <a:t>설계</a:t>
            </a:r>
            <a:endParaRPr lang="ko-KR" altLang="en-US" sz="16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7" name="Rectangle 43"/>
          <p:cNvSpPr/>
          <p:nvPr/>
        </p:nvSpPr>
        <p:spPr>
          <a:xfrm>
            <a:off x="3242821" y="2686050"/>
            <a:ext cx="1827981" cy="43815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lvl="0">
              <a:defRPr/>
            </a:pPr>
            <a:r>
              <a:rPr lang="en-US" altLang="ko-KR" sz="1600">
                <a:latin typeface="맑은 고딕 Semilight"/>
                <a:ea typeface="맑은 고딕 Semilight"/>
                <a:cs typeface="맑은 고딕 Semilight"/>
              </a:rPr>
              <a:t>-</a:t>
            </a:r>
            <a:r>
              <a:rPr lang="ko-KR" altLang="en-US" sz="1600">
                <a:latin typeface="맑은 고딕 Semilight"/>
                <a:ea typeface="맑은 고딕 Semilight"/>
                <a:cs typeface="맑은 고딕 Semilight"/>
              </a:rPr>
              <a:t> 기능</a:t>
            </a:r>
            <a:endParaRPr lang="ko-KR" altLang="en-US" sz="1600">
              <a:latin typeface="맑은 고딕 Semilight"/>
              <a:ea typeface="맑은 고딕 Semilight"/>
              <a:cs typeface="맑은 고딕 Semilight"/>
            </a:endParaRPr>
          </a:p>
          <a:p>
            <a:pPr lvl="0">
              <a:defRPr/>
            </a:pPr>
            <a:r>
              <a:rPr lang="ko-KR" altLang="en-US" sz="1300">
                <a:latin typeface="맑은 고딕 Semilight"/>
                <a:ea typeface="맑은 고딕 Semilight"/>
                <a:cs typeface="맑은 고딕 Semilight"/>
              </a:rPr>
              <a:t>벤치마킹</a:t>
            </a:r>
            <a:r>
              <a:rPr lang="en-US" altLang="ko-KR" sz="1300">
                <a:latin typeface="맑은 고딕 Semilight"/>
                <a:ea typeface="맑은 고딕 Semilight"/>
                <a:cs typeface="맑은 고딕 Semilight"/>
              </a:rPr>
              <a:t>,</a:t>
            </a:r>
            <a:r>
              <a:rPr lang="ko-KR" altLang="en-US" sz="1300">
                <a:latin typeface="맑은 고딕 Semilight"/>
                <a:ea typeface="맑은 고딕 Semilight"/>
                <a:cs typeface="맑은 고딕 Semilight"/>
              </a:rPr>
              <a:t> 설문조사</a:t>
            </a:r>
            <a:endParaRPr lang="ko-KR" altLang="en-US" sz="1300">
              <a:latin typeface="맑은 고딕 Semilight"/>
              <a:ea typeface="맑은 고딕 Semilight"/>
              <a:cs typeface="맑은 고딕 Semilight"/>
            </a:endParaRPr>
          </a:p>
        </p:txBody>
      </p:sp>
      <p:grpSp>
        <p:nvGrpSpPr>
          <p:cNvPr id="8" name="Group 44"/>
          <p:cNvGrpSpPr/>
          <p:nvPr/>
        </p:nvGrpSpPr>
        <p:grpSpPr>
          <a:xfrm rot="0">
            <a:off x="2775954" y="2711002"/>
            <a:ext cx="361946" cy="361946"/>
            <a:chOff x="788460" y="2783728"/>
            <a:chExt cx="361946" cy="361946"/>
          </a:xfrm>
        </p:grpSpPr>
        <p:sp>
          <p:nvSpPr>
            <p:cNvPr id="9" name="Oval 45"/>
            <p:cNvSpPr/>
            <p:nvPr/>
          </p:nvSpPr>
          <p:spPr>
            <a:xfrm>
              <a:off x="788460" y="2783728"/>
              <a:ext cx="361946" cy="361946"/>
            </a:xfrm>
            <a:prstGeom prst="ellipse">
              <a:avLst/>
            </a:prstGeom>
            <a:solidFill>
              <a:srgbClr val="0136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  <p:sp>
          <p:nvSpPr>
            <p:cNvPr id="10" name="Freeform 30"/>
            <p:cNvSpPr/>
            <p:nvPr/>
          </p:nvSpPr>
          <p:spPr>
            <a:xfrm>
              <a:off x="875924" y="2884489"/>
              <a:ext cx="187018" cy="160424"/>
            </a:xfrm>
            <a:custGeom>
              <a:avLst/>
              <a:gdLst>
                <a:gd name="T0" fmla="*/ 185 w 218"/>
                <a:gd name="T1" fmla="*/ 0 h 187"/>
                <a:gd name="T2" fmla="*/ 66 w 218"/>
                <a:gd name="T3" fmla="*/ 120 h 187"/>
                <a:gd name="T4" fmla="*/ 33 w 218"/>
                <a:gd name="T5" fmla="*/ 86 h 187"/>
                <a:gd name="T6" fmla="*/ 0 w 218"/>
                <a:gd name="T7" fmla="*/ 120 h 187"/>
                <a:gd name="T8" fmla="*/ 66 w 218"/>
                <a:gd name="T9" fmla="*/ 187 h 187"/>
                <a:gd name="T10" fmla="*/ 218 w 218"/>
                <a:gd name="T11" fmla="*/ 34 h 187"/>
                <a:gd name="T12" fmla="*/ 185 w 218"/>
                <a:gd name="T13" fmla="*/ 0 h 187"/>
              </a:gdLst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8" h="187">
                  <a:moveTo>
                    <a:pt x="185" y="0"/>
                  </a:moveTo>
                  <a:lnTo>
                    <a:pt x="66" y="120"/>
                  </a:lnTo>
                  <a:lnTo>
                    <a:pt x="33" y="86"/>
                  </a:lnTo>
                  <a:lnTo>
                    <a:pt x="0" y="120"/>
                  </a:lnTo>
                  <a:lnTo>
                    <a:pt x="66" y="187"/>
                  </a:lnTo>
                  <a:lnTo>
                    <a:pt x="218" y="34"/>
                  </a:lnTo>
                  <a:lnTo>
                    <a:pt x="185" y="0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id-ID"/>
            </a:p>
          </p:txBody>
        </p:sp>
      </p:grpSp>
      <p:sp>
        <p:nvSpPr>
          <p:cNvPr id="11" name="Rectangle 47"/>
          <p:cNvSpPr/>
          <p:nvPr/>
        </p:nvSpPr>
        <p:spPr>
          <a:xfrm>
            <a:off x="3242821" y="3400425"/>
            <a:ext cx="1827981" cy="43815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lvl="0">
              <a:defRPr/>
            </a:pPr>
            <a:r>
              <a:rPr lang="en-US" altLang="ko-KR" sz="1600">
                <a:latin typeface="맑은 고딕 Semilight"/>
                <a:ea typeface="맑은 고딕 Semilight"/>
                <a:cs typeface="맑은 고딕 Semilight"/>
              </a:rPr>
              <a:t>-</a:t>
            </a:r>
            <a:r>
              <a:rPr lang="ko-KR" altLang="en-US" sz="1600">
                <a:latin typeface="맑은 고딕 Semilight"/>
                <a:ea typeface="맑은 고딕 Semilight"/>
                <a:cs typeface="맑은 고딕 Semilight"/>
              </a:rPr>
              <a:t> </a:t>
            </a:r>
            <a:r>
              <a:rPr lang="en-US" altLang="ko-KR" sz="1600">
                <a:latin typeface="맑은 고딕 Semilight"/>
                <a:ea typeface="맑은 고딕 Semilight"/>
                <a:cs typeface="맑은 고딕 Semilight"/>
              </a:rPr>
              <a:t>GUI</a:t>
            </a:r>
            <a:endParaRPr lang="en-US" altLang="ko-KR" sz="1600">
              <a:latin typeface="맑은 고딕 Semilight"/>
              <a:ea typeface="맑은 고딕 Semilight"/>
              <a:cs typeface="맑은 고딕 Semilight"/>
            </a:endParaRPr>
          </a:p>
          <a:p>
            <a:pPr lvl="0">
              <a:defRPr/>
            </a:pPr>
            <a:r>
              <a:rPr lang="ko-KR" altLang="en-US" sz="1300">
                <a:latin typeface="맑은 고딕 Semilight"/>
                <a:ea typeface="맑은 고딕 Semilight"/>
                <a:cs typeface="맑은 고딕 Semilight"/>
              </a:rPr>
              <a:t>기능목록표</a:t>
            </a:r>
            <a:endParaRPr lang="ko-KR" altLang="en-US" sz="1300">
              <a:latin typeface="맑은 고딕 Semilight"/>
              <a:ea typeface="맑은 고딕 Semilight"/>
              <a:cs typeface="맑은 고딕 Semilight"/>
            </a:endParaRPr>
          </a:p>
        </p:txBody>
      </p:sp>
      <p:grpSp>
        <p:nvGrpSpPr>
          <p:cNvPr id="12" name="Group 48"/>
          <p:cNvGrpSpPr/>
          <p:nvPr/>
        </p:nvGrpSpPr>
        <p:grpSpPr>
          <a:xfrm rot="0">
            <a:off x="2775954" y="3429000"/>
            <a:ext cx="361946" cy="361946"/>
            <a:chOff x="788460" y="2783728"/>
            <a:chExt cx="361946" cy="361946"/>
          </a:xfrm>
        </p:grpSpPr>
        <p:sp>
          <p:nvSpPr>
            <p:cNvPr id="13" name="Oval 49"/>
            <p:cNvSpPr/>
            <p:nvPr/>
          </p:nvSpPr>
          <p:spPr>
            <a:xfrm>
              <a:off x="788460" y="2783728"/>
              <a:ext cx="361946" cy="361946"/>
            </a:xfrm>
            <a:prstGeom prst="ellipse">
              <a:avLst/>
            </a:prstGeom>
            <a:solidFill>
              <a:srgbClr val="0136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  <p:sp>
          <p:nvSpPr>
            <p:cNvPr id="14" name="Freeform 30"/>
            <p:cNvSpPr/>
            <p:nvPr/>
          </p:nvSpPr>
          <p:spPr>
            <a:xfrm>
              <a:off x="875924" y="2884489"/>
              <a:ext cx="187018" cy="160424"/>
            </a:xfrm>
            <a:custGeom>
              <a:avLst/>
              <a:gdLst>
                <a:gd name="T0" fmla="*/ 185 w 218"/>
                <a:gd name="T1" fmla="*/ 0 h 187"/>
                <a:gd name="T2" fmla="*/ 66 w 218"/>
                <a:gd name="T3" fmla="*/ 120 h 187"/>
                <a:gd name="T4" fmla="*/ 33 w 218"/>
                <a:gd name="T5" fmla="*/ 86 h 187"/>
                <a:gd name="T6" fmla="*/ 0 w 218"/>
                <a:gd name="T7" fmla="*/ 120 h 187"/>
                <a:gd name="T8" fmla="*/ 66 w 218"/>
                <a:gd name="T9" fmla="*/ 187 h 187"/>
                <a:gd name="T10" fmla="*/ 218 w 218"/>
                <a:gd name="T11" fmla="*/ 34 h 187"/>
                <a:gd name="T12" fmla="*/ 185 w 218"/>
                <a:gd name="T13" fmla="*/ 0 h 187"/>
              </a:gdLst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8" h="187">
                  <a:moveTo>
                    <a:pt x="185" y="0"/>
                  </a:moveTo>
                  <a:lnTo>
                    <a:pt x="66" y="120"/>
                  </a:lnTo>
                  <a:lnTo>
                    <a:pt x="33" y="86"/>
                  </a:lnTo>
                  <a:lnTo>
                    <a:pt x="0" y="120"/>
                  </a:lnTo>
                  <a:lnTo>
                    <a:pt x="66" y="187"/>
                  </a:lnTo>
                  <a:lnTo>
                    <a:pt x="218" y="34"/>
                  </a:lnTo>
                  <a:lnTo>
                    <a:pt x="185" y="0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id-ID"/>
            </a:p>
          </p:txBody>
        </p:sp>
      </p:grpSp>
      <p:sp>
        <p:nvSpPr>
          <p:cNvPr id="15" name="Rectangle 51"/>
          <p:cNvSpPr/>
          <p:nvPr/>
        </p:nvSpPr>
        <p:spPr>
          <a:xfrm>
            <a:off x="3242821" y="4048125"/>
            <a:ext cx="1935656" cy="638175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lvl="0">
              <a:defRPr/>
            </a:pPr>
            <a:r>
              <a:rPr lang="en-US" altLang="ko-KR" sz="1600">
                <a:latin typeface="맑은 고딕 Semilight"/>
                <a:ea typeface="맑은 고딕 Semilight"/>
                <a:cs typeface="맑은 고딕 Semilight"/>
              </a:rPr>
              <a:t>-</a:t>
            </a:r>
            <a:r>
              <a:rPr lang="ko-KR" altLang="en-US" sz="1600">
                <a:latin typeface="맑은 고딕 Semilight"/>
                <a:ea typeface="맑은 고딕 Semilight"/>
                <a:cs typeface="맑은 고딕 Semilight"/>
              </a:rPr>
              <a:t> 클래스</a:t>
            </a:r>
            <a:endParaRPr lang="ko-KR" altLang="en-US" sz="1600">
              <a:latin typeface="맑은 고딕 Semilight"/>
              <a:ea typeface="맑은 고딕 Semilight"/>
              <a:cs typeface="맑은 고딕 Semilight"/>
            </a:endParaRPr>
          </a:p>
          <a:p>
            <a:pPr lvl="0">
              <a:defRPr/>
            </a:pPr>
            <a:r>
              <a:rPr lang="en-US" altLang="ko-KR" sz="1300">
                <a:latin typeface="맑은 고딕 Semilight"/>
                <a:ea typeface="맑은 고딕 Semilight"/>
                <a:cs typeface="맑은 고딕 Semilight"/>
              </a:rPr>
              <a:t>mvc</a:t>
            </a:r>
            <a:r>
              <a:rPr lang="ko-KR" altLang="en-US" sz="1300">
                <a:latin typeface="맑은 고딕 Semilight"/>
                <a:ea typeface="맑은 고딕 Semilight"/>
                <a:cs typeface="맑은 고딕 Semilight"/>
              </a:rPr>
              <a:t>패턴을 도입한 클래스 다이어그램</a:t>
            </a:r>
            <a:endParaRPr lang="ko-KR" altLang="en-US" sz="1300">
              <a:latin typeface="맑은 고딕 Semilight"/>
              <a:ea typeface="맑은 고딕 Semilight"/>
              <a:cs typeface="맑은 고딕 Semilight"/>
            </a:endParaRPr>
          </a:p>
        </p:txBody>
      </p:sp>
      <p:grpSp>
        <p:nvGrpSpPr>
          <p:cNvPr id="16" name="Group 52"/>
          <p:cNvGrpSpPr/>
          <p:nvPr/>
        </p:nvGrpSpPr>
        <p:grpSpPr>
          <a:xfrm rot="0">
            <a:off x="2775954" y="4148405"/>
            <a:ext cx="361946" cy="361946"/>
            <a:chOff x="788460" y="2783728"/>
            <a:chExt cx="361946" cy="361946"/>
          </a:xfrm>
        </p:grpSpPr>
        <p:sp>
          <p:nvSpPr>
            <p:cNvPr id="17" name="Oval 53"/>
            <p:cNvSpPr/>
            <p:nvPr/>
          </p:nvSpPr>
          <p:spPr>
            <a:xfrm>
              <a:off x="788460" y="2783728"/>
              <a:ext cx="361946" cy="361946"/>
            </a:xfrm>
            <a:prstGeom prst="ellipse">
              <a:avLst/>
            </a:prstGeom>
            <a:solidFill>
              <a:srgbClr val="0136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  <p:sp>
          <p:nvSpPr>
            <p:cNvPr id="18" name="Freeform 30"/>
            <p:cNvSpPr/>
            <p:nvPr/>
          </p:nvSpPr>
          <p:spPr>
            <a:xfrm>
              <a:off x="875924" y="2884489"/>
              <a:ext cx="187018" cy="160424"/>
            </a:xfrm>
            <a:custGeom>
              <a:avLst/>
              <a:gdLst>
                <a:gd name="T0" fmla="*/ 185 w 218"/>
                <a:gd name="T1" fmla="*/ 0 h 187"/>
                <a:gd name="T2" fmla="*/ 66 w 218"/>
                <a:gd name="T3" fmla="*/ 120 h 187"/>
                <a:gd name="T4" fmla="*/ 33 w 218"/>
                <a:gd name="T5" fmla="*/ 86 h 187"/>
                <a:gd name="T6" fmla="*/ 0 w 218"/>
                <a:gd name="T7" fmla="*/ 120 h 187"/>
                <a:gd name="T8" fmla="*/ 66 w 218"/>
                <a:gd name="T9" fmla="*/ 187 h 187"/>
                <a:gd name="T10" fmla="*/ 218 w 218"/>
                <a:gd name="T11" fmla="*/ 34 h 187"/>
                <a:gd name="T12" fmla="*/ 185 w 218"/>
                <a:gd name="T13" fmla="*/ 0 h 187"/>
              </a:gdLst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8" h="187">
                  <a:moveTo>
                    <a:pt x="185" y="0"/>
                  </a:moveTo>
                  <a:lnTo>
                    <a:pt x="66" y="120"/>
                  </a:lnTo>
                  <a:lnTo>
                    <a:pt x="33" y="86"/>
                  </a:lnTo>
                  <a:lnTo>
                    <a:pt x="0" y="120"/>
                  </a:lnTo>
                  <a:lnTo>
                    <a:pt x="66" y="187"/>
                  </a:lnTo>
                  <a:lnTo>
                    <a:pt x="218" y="34"/>
                  </a:lnTo>
                  <a:lnTo>
                    <a:pt x="185" y="0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id-ID"/>
            </a:p>
          </p:txBody>
        </p:sp>
      </p:grpSp>
      <p:cxnSp>
        <p:nvCxnSpPr>
          <p:cNvPr id="23" name="Straight Connector 59"/>
          <p:cNvCxnSpPr/>
          <p:nvPr/>
        </p:nvCxnSpPr>
        <p:spPr>
          <a:xfrm>
            <a:off x="2767678" y="3250271"/>
            <a:ext cx="23114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60"/>
          <p:cNvCxnSpPr/>
          <p:nvPr/>
        </p:nvCxnSpPr>
        <p:spPr>
          <a:xfrm>
            <a:off x="2767678" y="3969676"/>
            <a:ext cx="23114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" name="Group 106"/>
          <p:cNvGrpSpPr/>
          <p:nvPr/>
        </p:nvGrpSpPr>
        <p:grpSpPr>
          <a:xfrm rot="0">
            <a:off x="3745437" y="1320379"/>
            <a:ext cx="370588" cy="370588"/>
            <a:chOff x="5562600" y="3255963"/>
            <a:chExt cx="346075" cy="346075"/>
          </a:xfrm>
        </p:grpSpPr>
        <p:sp>
          <p:nvSpPr>
            <p:cNvPr id="27" name="Freeform 58"/>
            <p:cNvSpPr/>
            <p:nvPr/>
          </p:nvSpPr>
          <p:spPr>
            <a:xfrm>
              <a:off x="5562600" y="3286125"/>
              <a:ext cx="346075" cy="315913"/>
            </a:xfrm>
            <a:custGeom>
              <a:avLst/>
              <a:gdLst>
                <a:gd name="T0" fmla="*/ 38 w 218"/>
                <a:gd name="T1" fmla="*/ 0 h 199"/>
                <a:gd name="T2" fmla="*/ 0 w 218"/>
                <a:gd name="T3" fmla="*/ 0 h 199"/>
                <a:gd name="T4" fmla="*/ 0 w 218"/>
                <a:gd name="T5" fmla="*/ 199 h 199"/>
                <a:gd name="T6" fmla="*/ 218 w 218"/>
                <a:gd name="T7" fmla="*/ 199 h 199"/>
                <a:gd name="T8" fmla="*/ 218 w 218"/>
                <a:gd name="T9" fmla="*/ 0 h 199"/>
                <a:gd name="T10" fmla="*/ 180 w 218"/>
                <a:gd name="T11" fmla="*/ 0 h 199"/>
              </a:gdLst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8" h="199">
                  <a:moveTo>
                    <a:pt x="38" y="0"/>
                  </a:moveTo>
                  <a:lnTo>
                    <a:pt x="0" y="0"/>
                  </a:lnTo>
                  <a:lnTo>
                    <a:pt x="0" y="199"/>
                  </a:lnTo>
                  <a:lnTo>
                    <a:pt x="218" y="199"/>
                  </a:lnTo>
                  <a:lnTo>
                    <a:pt x="218" y="0"/>
                  </a:lnTo>
                  <a:lnTo>
                    <a:pt x="180" y="0"/>
                  </a:lnTo>
                </a:path>
              </a:pathLst>
            </a:custGeom>
            <a:noFill/>
            <a:ln w="15875" cap="rnd">
              <a:solidFill>
                <a:srgbClr val="013641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id-ID"/>
            </a:p>
          </p:txBody>
        </p:sp>
        <p:sp>
          <p:nvSpPr>
            <p:cNvPr id="28" name="Rectangle 108"/>
            <p:cNvSpPr>
              <a:spLocks noChangeArrowheads="1"/>
            </p:cNvSpPr>
            <p:nvPr/>
          </p:nvSpPr>
          <p:spPr>
            <a:xfrm>
              <a:off x="5622925" y="3255963"/>
              <a:ext cx="44450" cy="60325"/>
            </a:xfrm>
            <a:prstGeom prst="rect">
              <a:avLst/>
            </a:prstGeom>
            <a:noFill/>
            <a:ln w="15875" cap="rnd">
              <a:solidFill>
                <a:srgbClr val="013641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id-ID"/>
            </a:p>
          </p:txBody>
        </p:sp>
        <p:sp>
          <p:nvSpPr>
            <p:cNvPr id="29" name="Rectangle 109"/>
            <p:cNvSpPr>
              <a:spLocks noChangeArrowheads="1"/>
            </p:cNvSpPr>
            <p:nvPr/>
          </p:nvSpPr>
          <p:spPr>
            <a:xfrm>
              <a:off x="5803900" y="3255963"/>
              <a:ext cx="44450" cy="60325"/>
            </a:xfrm>
            <a:prstGeom prst="rect">
              <a:avLst/>
            </a:prstGeom>
            <a:noFill/>
            <a:ln w="15875" cap="rnd">
              <a:solidFill>
                <a:srgbClr val="013641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id-ID"/>
            </a:p>
          </p:txBody>
        </p:sp>
        <p:sp>
          <p:nvSpPr>
            <p:cNvPr id="30" name="Line 61"/>
            <p:cNvSpPr>
              <a:spLocks noChangeShapeType="1"/>
            </p:cNvSpPr>
            <p:nvPr/>
          </p:nvSpPr>
          <p:spPr>
            <a:xfrm>
              <a:off x="5667375" y="3286125"/>
              <a:ext cx="136525" cy="0"/>
            </a:xfrm>
            <a:prstGeom prst="line">
              <a:avLst/>
            </a:prstGeom>
            <a:noFill/>
            <a:ln w="15875" cap="rnd">
              <a:solidFill>
                <a:srgbClr val="013641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id-ID"/>
            </a:p>
          </p:txBody>
        </p:sp>
        <p:sp>
          <p:nvSpPr>
            <p:cNvPr id="31" name="Line 62"/>
            <p:cNvSpPr>
              <a:spLocks noChangeShapeType="1"/>
            </p:cNvSpPr>
            <p:nvPr/>
          </p:nvSpPr>
          <p:spPr>
            <a:xfrm>
              <a:off x="5562600" y="3360738"/>
              <a:ext cx="346075" cy="0"/>
            </a:xfrm>
            <a:prstGeom prst="line">
              <a:avLst/>
            </a:prstGeom>
            <a:noFill/>
            <a:ln w="15875" cap="rnd">
              <a:solidFill>
                <a:srgbClr val="013641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id-ID"/>
            </a:p>
          </p:txBody>
        </p:sp>
        <p:sp>
          <p:nvSpPr>
            <p:cNvPr id="32" name="Line 63"/>
            <p:cNvSpPr>
              <a:spLocks noChangeShapeType="1"/>
            </p:cNvSpPr>
            <p:nvPr/>
          </p:nvSpPr>
          <p:spPr>
            <a:xfrm>
              <a:off x="5653088" y="3390900"/>
              <a:ext cx="0" cy="180975"/>
            </a:xfrm>
            <a:prstGeom prst="line">
              <a:avLst/>
            </a:prstGeom>
            <a:noFill/>
            <a:ln w="15875" cap="rnd">
              <a:solidFill>
                <a:srgbClr val="013641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id-ID"/>
            </a:p>
          </p:txBody>
        </p:sp>
        <p:sp>
          <p:nvSpPr>
            <p:cNvPr id="33" name="Line 64"/>
            <p:cNvSpPr>
              <a:spLocks noChangeShapeType="1"/>
            </p:cNvSpPr>
            <p:nvPr/>
          </p:nvSpPr>
          <p:spPr>
            <a:xfrm>
              <a:off x="5727700" y="3390900"/>
              <a:ext cx="0" cy="180975"/>
            </a:xfrm>
            <a:prstGeom prst="line">
              <a:avLst/>
            </a:prstGeom>
            <a:noFill/>
            <a:ln w="15875" cap="rnd">
              <a:solidFill>
                <a:srgbClr val="013641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id-ID"/>
            </a:p>
          </p:txBody>
        </p:sp>
        <p:sp>
          <p:nvSpPr>
            <p:cNvPr id="34" name="Line 65"/>
            <p:cNvSpPr>
              <a:spLocks noChangeShapeType="1"/>
            </p:cNvSpPr>
            <p:nvPr/>
          </p:nvSpPr>
          <p:spPr>
            <a:xfrm>
              <a:off x="5803900" y="3390900"/>
              <a:ext cx="0" cy="180975"/>
            </a:xfrm>
            <a:prstGeom prst="line">
              <a:avLst/>
            </a:prstGeom>
            <a:noFill/>
            <a:ln w="15875" cap="rnd">
              <a:solidFill>
                <a:srgbClr val="013641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id-ID"/>
            </a:p>
          </p:txBody>
        </p:sp>
        <p:sp>
          <p:nvSpPr>
            <p:cNvPr id="35" name="Line 66"/>
            <p:cNvSpPr>
              <a:spLocks noChangeShapeType="1"/>
            </p:cNvSpPr>
            <p:nvPr/>
          </p:nvSpPr>
          <p:spPr>
            <a:xfrm>
              <a:off x="5592763" y="3421063"/>
              <a:ext cx="285750" cy="0"/>
            </a:xfrm>
            <a:prstGeom prst="line">
              <a:avLst/>
            </a:prstGeom>
            <a:noFill/>
            <a:ln w="15875" cap="rnd">
              <a:solidFill>
                <a:srgbClr val="013641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id-ID"/>
            </a:p>
          </p:txBody>
        </p:sp>
        <p:sp>
          <p:nvSpPr>
            <p:cNvPr id="36" name="Line 67"/>
            <p:cNvSpPr>
              <a:spLocks noChangeShapeType="1"/>
            </p:cNvSpPr>
            <p:nvPr/>
          </p:nvSpPr>
          <p:spPr>
            <a:xfrm>
              <a:off x="5592763" y="3481388"/>
              <a:ext cx="285750" cy="0"/>
            </a:xfrm>
            <a:prstGeom prst="line">
              <a:avLst/>
            </a:prstGeom>
            <a:noFill/>
            <a:ln w="15875" cap="rnd">
              <a:solidFill>
                <a:srgbClr val="013641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id-ID"/>
            </a:p>
          </p:txBody>
        </p:sp>
        <p:sp>
          <p:nvSpPr>
            <p:cNvPr id="37" name="Line 68"/>
            <p:cNvSpPr>
              <a:spLocks noChangeShapeType="1"/>
            </p:cNvSpPr>
            <p:nvPr/>
          </p:nvSpPr>
          <p:spPr>
            <a:xfrm>
              <a:off x="5592763" y="3541713"/>
              <a:ext cx="285750" cy="0"/>
            </a:xfrm>
            <a:prstGeom prst="line">
              <a:avLst/>
            </a:prstGeom>
            <a:noFill/>
            <a:ln w="15875" cap="rnd">
              <a:solidFill>
                <a:srgbClr val="013641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id-ID"/>
            </a:p>
          </p:txBody>
        </p:sp>
      </p:grpSp>
      <p:sp>
        <p:nvSpPr>
          <p:cNvPr id="38" name="Rectangle 16"/>
          <p:cNvSpPr/>
          <p:nvPr/>
        </p:nvSpPr>
        <p:spPr>
          <a:xfrm>
            <a:off x="7539244" y="2125245"/>
            <a:ext cx="2633518" cy="34224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9" name="Rectangle 12"/>
          <p:cNvSpPr/>
          <p:nvPr/>
        </p:nvSpPr>
        <p:spPr>
          <a:xfrm>
            <a:off x="7539245" y="1941733"/>
            <a:ext cx="2633526" cy="548640"/>
          </a:xfrm>
          <a:prstGeom prst="rect">
            <a:avLst/>
          </a:prstGeom>
          <a:solidFill>
            <a:srgbClr val="015a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ko-KR" altLang="en-US" sz="1600" b="1">
                <a:solidFill>
                  <a:schemeClr val="bg1"/>
                </a:solidFill>
                <a:latin typeface="Segoe UI"/>
                <a:cs typeface="Segoe UI"/>
              </a:rPr>
              <a:t>기능</a:t>
            </a:r>
            <a:endParaRPr lang="ko-KR" altLang="en-US" sz="16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grpSp>
        <p:nvGrpSpPr>
          <p:cNvPr id="41" name="Group 26"/>
          <p:cNvGrpSpPr/>
          <p:nvPr/>
        </p:nvGrpSpPr>
        <p:grpSpPr>
          <a:xfrm rot="0">
            <a:off x="7708579" y="2711002"/>
            <a:ext cx="361946" cy="361946"/>
            <a:chOff x="788460" y="2783728"/>
            <a:chExt cx="361946" cy="361946"/>
          </a:xfrm>
        </p:grpSpPr>
        <p:sp>
          <p:nvSpPr>
            <p:cNvPr id="42" name="Oval 24"/>
            <p:cNvSpPr/>
            <p:nvPr/>
          </p:nvSpPr>
          <p:spPr>
            <a:xfrm>
              <a:off x="788460" y="2783728"/>
              <a:ext cx="361946" cy="361946"/>
            </a:xfrm>
            <a:prstGeom prst="ellipse">
              <a:avLst/>
            </a:prstGeom>
            <a:solidFill>
              <a:srgbClr val="015a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  <p:sp>
          <p:nvSpPr>
            <p:cNvPr id="43" name="Freeform 30"/>
            <p:cNvSpPr/>
            <p:nvPr/>
          </p:nvSpPr>
          <p:spPr>
            <a:xfrm>
              <a:off x="875924" y="2884489"/>
              <a:ext cx="187018" cy="160424"/>
            </a:xfrm>
            <a:custGeom>
              <a:avLst/>
              <a:gdLst>
                <a:gd name="T0" fmla="*/ 185 w 218"/>
                <a:gd name="T1" fmla="*/ 0 h 187"/>
                <a:gd name="T2" fmla="*/ 66 w 218"/>
                <a:gd name="T3" fmla="*/ 120 h 187"/>
                <a:gd name="T4" fmla="*/ 33 w 218"/>
                <a:gd name="T5" fmla="*/ 86 h 187"/>
                <a:gd name="T6" fmla="*/ 0 w 218"/>
                <a:gd name="T7" fmla="*/ 120 h 187"/>
                <a:gd name="T8" fmla="*/ 66 w 218"/>
                <a:gd name="T9" fmla="*/ 187 h 187"/>
                <a:gd name="T10" fmla="*/ 218 w 218"/>
                <a:gd name="T11" fmla="*/ 34 h 187"/>
                <a:gd name="T12" fmla="*/ 185 w 218"/>
                <a:gd name="T13" fmla="*/ 0 h 187"/>
              </a:gdLst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8" h="187">
                  <a:moveTo>
                    <a:pt x="185" y="0"/>
                  </a:moveTo>
                  <a:lnTo>
                    <a:pt x="66" y="120"/>
                  </a:lnTo>
                  <a:lnTo>
                    <a:pt x="33" y="86"/>
                  </a:lnTo>
                  <a:lnTo>
                    <a:pt x="0" y="120"/>
                  </a:lnTo>
                  <a:lnTo>
                    <a:pt x="66" y="187"/>
                  </a:lnTo>
                  <a:lnTo>
                    <a:pt x="218" y="34"/>
                  </a:lnTo>
                  <a:lnTo>
                    <a:pt x="185" y="0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id-ID"/>
            </a:p>
          </p:txBody>
        </p:sp>
      </p:grpSp>
      <p:grpSp>
        <p:nvGrpSpPr>
          <p:cNvPr id="45" name="Group 28"/>
          <p:cNvGrpSpPr/>
          <p:nvPr/>
        </p:nvGrpSpPr>
        <p:grpSpPr>
          <a:xfrm rot="0">
            <a:off x="7708579" y="3429000"/>
            <a:ext cx="361946" cy="361946"/>
            <a:chOff x="788460" y="2783728"/>
            <a:chExt cx="361946" cy="361946"/>
          </a:xfrm>
        </p:grpSpPr>
        <p:sp>
          <p:nvSpPr>
            <p:cNvPr id="46" name="Oval 29"/>
            <p:cNvSpPr/>
            <p:nvPr/>
          </p:nvSpPr>
          <p:spPr>
            <a:xfrm>
              <a:off x="788460" y="2783728"/>
              <a:ext cx="361946" cy="361946"/>
            </a:xfrm>
            <a:prstGeom prst="ellipse">
              <a:avLst/>
            </a:prstGeom>
            <a:solidFill>
              <a:srgbClr val="015a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  <p:sp>
          <p:nvSpPr>
            <p:cNvPr id="47" name="Freeform 30"/>
            <p:cNvSpPr/>
            <p:nvPr/>
          </p:nvSpPr>
          <p:spPr>
            <a:xfrm>
              <a:off x="875924" y="2884489"/>
              <a:ext cx="187018" cy="160424"/>
            </a:xfrm>
            <a:custGeom>
              <a:avLst/>
              <a:gdLst>
                <a:gd name="T0" fmla="*/ 185 w 218"/>
                <a:gd name="T1" fmla="*/ 0 h 187"/>
                <a:gd name="T2" fmla="*/ 66 w 218"/>
                <a:gd name="T3" fmla="*/ 120 h 187"/>
                <a:gd name="T4" fmla="*/ 33 w 218"/>
                <a:gd name="T5" fmla="*/ 86 h 187"/>
                <a:gd name="T6" fmla="*/ 0 w 218"/>
                <a:gd name="T7" fmla="*/ 120 h 187"/>
                <a:gd name="T8" fmla="*/ 66 w 218"/>
                <a:gd name="T9" fmla="*/ 187 h 187"/>
                <a:gd name="T10" fmla="*/ 218 w 218"/>
                <a:gd name="T11" fmla="*/ 34 h 187"/>
                <a:gd name="T12" fmla="*/ 185 w 218"/>
                <a:gd name="T13" fmla="*/ 0 h 187"/>
              </a:gdLst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8" h="187">
                  <a:moveTo>
                    <a:pt x="185" y="0"/>
                  </a:moveTo>
                  <a:lnTo>
                    <a:pt x="66" y="120"/>
                  </a:lnTo>
                  <a:lnTo>
                    <a:pt x="33" y="86"/>
                  </a:lnTo>
                  <a:lnTo>
                    <a:pt x="0" y="120"/>
                  </a:lnTo>
                  <a:lnTo>
                    <a:pt x="66" y="187"/>
                  </a:lnTo>
                  <a:lnTo>
                    <a:pt x="218" y="34"/>
                  </a:lnTo>
                  <a:lnTo>
                    <a:pt x="185" y="0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id-ID"/>
            </a:p>
          </p:txBody>
        </p:sp>
      </p:grpSp>
      <p:grpSp>
        <p:nvGrpSpPr>
          <p:cNvPr id="49" name="Group 32"/>
          <p:cNvGrpSpPr/>
          <p:nvPr/>
        </p:nvGrpSpPr>
        <p:grpSpPr>
          <a:xfrm rot="0">
            <a:off x="7708579" y="4148405"/>
            <a:ext cx="361946" cy="361946"/>
            <a:chOff x="788460" y="2783728"/>
            <a:chExt cx="361946" cy="361946"/>
          </a:xfrm>
        </p:grpSpPr>
        <p:sp>
          <p:nvSpPr>
            <p:cNvPr id="50" name="Oval 33"/>
            <p:cNvSpPr/>
            <p:nvPr/>
          </p:nvSpPr>
          <p:spPr>
            <a:xfrm>
              <a:off x="788460" y="2783728"/>
              <a:ext cx="361946" cy="361946"/>
            </a:xfrm>
            <a:prstGeom prst="ellipse">
              <a:avLst/>
            </a:prstGeom>
            <a:solidFill>
              <a:srgbClr val="015a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  <p:sp>
          <p:nvSpPr>
            <p:cNvPr id="51" name="Freeform 30"/>
            <p:cNvSpPr/>
            <p:nvPr/>
          </p:nvSpPr>
          <p:spPr>
            <a:xfrm>
              <a:off x="875924" y="2884489"/>
              <a:ext cx="187018" cy="160424"/>
            </a:xfrm>
            <a:custGeom>
              <a:avLst/>
              <a:gdLst>
                <a:gd name="T0" fmla="*/ 185 w 218"/>
                <a:gd name="T1" fmla="*/ 0 h 187"/>
                <a:gd name="T2" fmla="*/ 66 w 218"/>
                <a:gd name="T3" fmla="*/ 120 h 187"/>
                <a:gd name="T4" fmla="*/ 33 w 218"/>
                <a:gd name="T5" fmla="*/ 86 h 187"/>
                <a:gd name="T6" fmla="*/ 0 w 218"/>
                <a:gd name="T7" fmla="*/ 120 h 187"/>
                <a:gd name="T8" fmla="*/ 66 w 218"/>
                <a:gd name="T9" fmla="*/ 187 h 187"/>
                <a:gd name="T10" fmla="*/ 218 w 218"/>
                <a:gd name="T11" fmla="*/ 34 h 187"/>
                <a:gd name="T12" fmla="*/ 185 w 218"/>
                <a:gd name="T13" fmla="*/ 0 h 187"/>
              </a:gdLst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8" h="187">
                  <a:moveTo>
                    <a:pt x="185" y="0"/>
                  </a:moveTo>
                  <a:lnTo>
                    <a:pt x="66" y="120"/>
                  </a:lnTo>
                  <a:lnTo>
                    <a:pt x="33" y="86"/>
                  </a:lnTo>
                  <a:lnTo>
                    <a:pt x="0" y="120"/>
                  </a:lnTo>
                  <a:lnTo>
                    <a:pt x="66" y="187"/>
                  </a:lnTo>
                  <a:lnTo>
                    <a:pt x="218" y="34"/>
                  </a:lnTo>
                  <a:lnTo>
                    <a:pt x="185" y="0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id-ID"/>
            </a:p>
          </p:txBody>
        </p:sp>
      </p:grpSp>
      <p:cxnSp>
        <p:nvCxnSpPr>
          <p:cNvPr id="56" name="Straight Connector 40"/>
          <p:cNvCxnSpPr/>
          <p:nvPr/>
        </p:nvCxnSpPr>
        <p:spPr>
          <a:xfrm>
            <a:off x="7700303" y="3250271"/>
            <a:ext cx="23114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41"/>
          <p:cNvCxnSpPr/>
          <p:nvPr/>
        </p:nvCxnSpPr>
        <p:spPr>
          <a:xfrm>
            <a:off x="7700303" y="3969676"/>
            <a:ext cx="23114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9" name="Group 101"/>
          <p:cNvGrpSpPr/>
          <p:nvPr/>
        </p:nvGrpSpPr>
        <p:grpSpPr>
          <a:xfrm rot="0">
            <a:off x="8631802" y="1281467"/>
            <a:ext cx="448414" cy="448412"/>
            <a:chOff x="5562600" y="3979863"/>
            <a:chExt cx="346076" cy="346075"/>
          </a:xfrm>
        </p:grpSpPr>
        <p:sp>
          <p:nvSpPr>
            <p:cNvPr id="60" name="Oval 102"/>
            <p:cNvSpPr>
              <a:spLocks noChangeArrowheads="1"/>
            </p:cNvSpPr>
            <p:nvPr/>
          </p:nvSpPr>
          <p:spPr>
            <a:xfrm>
              <a:off x="5637213" y="4160838"/>
              <a:ext cx="90488" cy="90488"/>
            </a:xfrm>
            <a:prstGeom prst="ellipse">
              <a:avLst/>
            </a:prstGeom>
            <a:noFill/>
            <a:ln w="15875" cap="flat">
              <a:solidFill>
                <a:srgbClr val="015a6b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id-ID"/>
            </a:p>
          </p:txBody>
        </p:sp>
        <p:sp>
          <p:nvSpPr>
            <p:cNvPr id="61" name="Oval 103"/>
            <p:cNvSpPr>
              <a:spLocks noChangeArrowheads="1"/>
            </p:cNvSpPr>
            <p:nvPr/>
          </p:nvSpPr>
          <p:spPr>
            <a:xfrm>
              <a:off x="5818188" y="4024313"/>
              <a:ext cx="44450" cy="46038"/>
            </a:xfrm>
            <a:prstGeom prst="ellipse">
              <a:avLst/>
            </a:prstGeom>
            <a:noFill/>
            <a:ln w="15875" cap="flat">
              <a:solidFill>
                <a:srgbClr val="015a6b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id-ID"/>
            </a:p>
          </p:txBody>
        </p:sp>
        <p:sp>
          <p:nvSpPr>
            <p:cNvPr id="62" name="Freeform 66"/>
            <p:cNvSpPr/>
            <p:nvPr/>
          </p:nvSpPr>
          <p:spPr>
            <a:xfrm>
              <a:off x="5562600" y="4084638"/>
              <a:ext cx="241300" cy="241300"/>
            </a:xfrm>
            <a:custGeom>
              <a:avLst/>
              <a:gdLst>
                <a:gd name="T0" fmla="*/ 58 w 64"/>
                <a:gd name="T1" fmla="*/ 32 h 64"/>
                <a:gd name="T2" fmla="*/ 57 w 64"/>
                <a:gd name="T3" fmla="*/ 27 h 64"/>
                <a:gd name="T4" fmla="*/ 64 w 64"/>
                <a:gd name="T5" fmla="*/ 23 h 64"/>
                <a:gd name="T6" fmla="*/ 56 w 64"/>
                <a:gd name="T7" fmla="*/ 9 h 64"/>
                <a:gd name="T8" fmla="*/ 50 w 64"/>
                <a:gd name="T9" fmla="*/ 13 h 64"/>
                <a:gd name="T10" fmla="*/ 40 w 64"/>
                <a:gd name="T11" fmla="*/ 7 h 64"/>
                <a:gd name="T12" fmla="*/ 40 w 64"/>
                <a:gd name="T13" fmla="*/ 0 h 64"/>
                <a:gd name="T14" fmla="*/ 24 w 64"/>
                <a:gd name="T15" fmla="*/ 0 h 64"/>
                <a:gd name="T16" fmla="*/ 24 w 64"/>
                <a:gd name="T17" fmla="*/ 7 h 64"/>
                <a:gd name="T18" fmla="*/ 15 w 64"/>
                <a:gd name="T19" fmla="*/ 13 h 64"/>
                <a:gd name="T20" fmla="*/ 8 w 64"/>
                <a:gd name="T21" fmla="*/ 9 h 64"/>
                <a:gd name="T22" fmla="*/ 0 w 64"/>
                <a:gd name="T23" fmla="*/ 23 h 64"/>
                <a:gd name="T24" fmla="*/ 7 w 64"/>
                <a:gd name="T25" fmla="*/ 27 h 64"/>
                <a:gd name="T26" fmla="*/ 6 w 64"/>
                <a:gd name="T27" fmla="*/ 32 h 64"/>
                <a:gd name="T28" fmla="*/ 7 w 64"/>
                <a:gd name="T29" fmla="*/ 37 h 64"/>
                <a:gd name="T30" fmla="*/ 0 w 64"/>
                <a:gd name="T31" fmla="*/ 41 h 64"/>
                <a:gd name="T32" fmla="*/ 8 w 64"/>
                <a:gd name="T33" fmla="*/ 55 h 64"/>
                <a:gd name="T34" fmla="*/ 15 w 64"/>
                <a:gd name="T35" fmla="*/ 51 h 64"/>
                <a:gd name="T36" fmla="*/ 24 w 64"/>
                <a:gd name="T37" fmla="*/ 57 h 64"/>
                <a:gd name="T38" fmla="*/ 24 w 64"/>
                <a:gd name="T39" fmla="*/ 64 h 64"/>
                <a:gd name="T40" fmla="*/ 40 w 64"/>
                <a:gd name="T41" fmla="*/ 64 h 64"/>
                <a:gd name="T42" fmla="*/ 40 w 64"/>
                <a:gd name="T43" fmla="*/ 57 h 64"/>
                <a:gd name="T44" fmla="*/ 50 w 64"/>
                <a:gd name="T45" fmla="*/ 51 h 64"/>
                <a:gd name="T46" fmla="*/ 56 w 64"/>
                <a:gd name="T47" fmla="*/ 55 h 64"/>
                <a:gd name="T48" fmla="*/ 64 w 64"/>
                <a:gd name="T49" fmla="*/ 41 h 64"/>
                <a:gd name="T50" fmla="*/ 57 w 64"/>
                <a:gd name="T51" fmla="*/ 37 h 64"/>
                <a:gd name="T52" fmla="*/ 58 w 64"/>
                <a:gd name="T53" fmla="*/ 32 h 64"/>
              </a:gdLst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4" h="64">
                  <a:moveTo>
                    <a:pt x="58" y="32"/>
                  </a:moveTo>
                  <a:cubicBezTo>
                    <a:pt x="58" y="30"/>
                    <a:pt x="58" y="28"/>
                    <a:pt x="57" y="27"/>
                  </a:cubicBezTo>
                  <a:quadBezTo>
                    <a:pt x="64" y="23"/>
                    <a:pt x="64" y="23"/>
                  </a:quadBezTo>
                  <a:quadBezTo>
                    <a:pt x="56" y="9"/>
                    <a:pt x="56" y="9"/>
                  </a:quadBezTo>
                  <a:quadBezTo>
                    <a:pt x="50" y="13"/>
                    <a:pt x="50" y="13"/>
                  </a:quadBezTo>
                  <a:cubicBezTo>
                    <a:pt x="47" y="10"/>
                    <a:pt x="44" y="8"/>
                    <a:pt x="40" y="7"/>
                  </a:cubicBezTo>
                  <a:quadBezTo>
                    <a:pt x="40" y="0"/>
                    <a:pt x="40" y="0"/>
                  </a:quadBezTo>
                  <a:quadBezTo>
                    <a:pt x="24" y="0"/>
                    <a:pt x="24" y="0"/>
                  </a:quadBezTo>
                  <a:quadBezTo>
                    <a:pt x="24" y="7"/>
                    <a:pt x="24" y="7"/>
                  </a:quadBezTo>
                  <a:cubicBezTo>
                    <a:pt x="20" y="8"/>
                    <a:pt x="17" y="10"/>
                    <a:pt x="15" y="13"/>
                  </a:cubicBezTo>
                  <a:quadBezTo>
                    <a:pt x="8" y="9"/>
                    <a:pt x="8" y="9"/>
                  </a:quadBezTo>
                  <a:quadBezTo>
                    <a:pt x="0" y="23"/>
                    <a:pt x="0" y="23"/>
                  </a:quadBezTo>
                  <a:quadBezTo>
                    <a:pt x="7" y="27"/>
                    <a:pt x="7" y="27"/>
                  </a:quadBezTo>
                  <a:cubicBezTo>
                    <a:pt x="6" y="28"/>
                    <a:pt x="6" y="30"/>
                    <a:pt x="6" y="32"/>
                  </a:cubicBezTo>
                  <a:cubicBezTo>
                    <a:pt x="6" y="34"/>
                    <a:pt x="6" y="36"/>
                    <a:pt x="7" y="37"/>
                  </a:cubicBezTo>
                  <a:quadBezTo>
                    <a:pt x="0" y="41"/>
                    <a:pt x="0" y="41"/>
                  </a:quadBezTo>
                  <a:quadBezTo>
                    <a:pt x="8" y="55"/>
                    <a:pt x="8" y="55"/>
                  </a:quadBezTo>
                  <a:quadBezTo>
                    <a:pt x="15" y="51"/>
                    <a:pt x="15" y="51"/>
                  </a:quadBezTo>
                  <a:cubicBezTo>
                    <a:pt x="17" y="54"/>
                    <a:pt x="20" y="56"/>
                    <a:pt x="24" y="57"/>
                  </a:cubicBezTo>
                  <a:quadBezTo>
                    <a:pt x="24" y="64"/>
                    <a:pt x="24" y="64"/>
                  </a:quadBezTo>
                  <a:quadBezTo>
                    <a:pt x="40" y="64"/>
                    <a:pt x="40" y="64"/>
                  </a:quadBezTo>
                  <a:quadBezTo>
                    <a:pt x="40" y="57"/>
                    <a:pt x="40" y="57"/>
                  </a:quadBezTo>
                  <a:cubicBezTo>
                    <a:pt x="44" y="56"/>
                    <a:pt x="47" y="54"/>
                    <a:pt x="50" y="51"/>
                  </a:cubicBezTo>
                  <a:quadBezTo>
                    <a:pt x="56" y="55"/>
                    <a:pt x="56" y="55"/>
                  </a:quadBezTo>
                  <a:quadBezTo>
                    <a:pt x="64" y="41"/>
                    <a:pt x="64" y="41"/>
                  </a:quadBezTo>
                  <a:quadBezTo>
                    <a:pt x="57" y="37"/>
                    <a:pt x="57" y="37"/>
                  </a:quadBezTo>
                  <a:cubicBezTo>
                    <a:pt x="58" y="36"/>
                    <a:pt x="58" y="34"/>
                    <a:pt x="58" y="32"/>
                  </a:cubicBezTo>
                  <a:close/>
                </a:path>
              </a:pathLst>
            </a:custGeom>
            <a:noFill/>
            <a:ln w="15875" cap="flat">
              <a:solidFill>
                <a:srgbClr val="015a6b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id-ID"/>
            </a:p>
          </p:txBody>
        </p:sp>
        <p:sp>
          <p:nvSpPr>
            <p:cNvPr id="63" name="Freeform 67"/>
            <p:cNvSpPr/>
            <p:nvPr/>
          </p:nvSpPr>
          <p:spPr>
            <a:xfrm>
              <a:off x="5773738" y="3979863"/>
              <a:ext cx="134938" cy="134938"/>
            </a:xfrm>
            <a:custGeom>
              <a:avLst/>
              <a:gdLst>
                <a:gd name="T0" fmla="*/ 32 w 36"/>
                <a:gd name="T1" fmla="*/ 18 h 36"/>
                <a:gd name="T2" fmla="*/ 32 w 36"/>
                <a:gd name="T3" fmla="*/ 15 h 36"/>
                <a:gd name="T4" fmla="*/ 36 w 36"/>
                <a:gd name="T5" fmla="*/ 12 h 36"/>
                <a:gd name="T6" fmla="*/ 32 w 36"/>
                <a:gd name="T7" fmla="*/ 6 h 36"/>
                <a:gd name="T8" fmla="*/ 28 w 36"/>
                <a:gd name="T9" fmla="*/ 8 h 36"/>
                <a:gd name="T10" fmla="*/ 22 w 36"/>
                <a:gd name="T11" fmla="*/ 5 h 36"/>
                <a:gd name="T12" fmla="*/ 22 w 36"/>
                <a:gd name="T13" fmla="*/ 0 h 36"/>
                <a:gd name="T14" fmla="*/ 14 w 36"/>
                <a:gd name="T15" fmla="*/ 0 h 36"/>
                <a:gd name="T16" fmla="*/ 14 w 36"/>
                <a:gd name="T17" fmla="*/ 5 h 36"/>
                <a:gd name="T18" fmla="*/ 9 w 36"/>
                <a:gd name="T19" fmla="*/ 8 h 36"/>
                <a:gd name="T20" fmla="*/ 5 w 36"/>
                <a:gd name="T21" fmla="*/ 6 h 36"/>
                <a:gd name="T22" fmla="*/ 0 w 36"/>
                <a:gd name="T23" fmla="*/ 12 h 36"/>
                <a:gd name="T24" fmla="*/ 4 w 36"/>
                <a:gd name="T25" fmla="*/ 15 h 36"/>
                <a:gd name="T26" fmla="*/ 4 w 36"/>
                <a:gd name="T27" fmla="*/ 18 h 36"/>
                <a:gd name="T28" fmla="*/ 4 w 36"/>
                <a:gd name="T29" fmla="*/ 21 h 36"/>
                <a:gd name="T30" fmla="*/ 0 w 36"/>
                <a:gd name="T31" fmla="*/ 24 h 36"/>
                <a:gd name="T32" fmla="*/ 4 w 36"/>
                <a:gd name="T33" fmla="*/ 30 h 36"/>
                <a:gd name="T34" fmla="*/ 9 w 36"/>
                <a:gd name="T35" fmla="*/ 28 h 36"/>
                <a:gd name="T36" fmla="*/ 14 w 36"/>
                <a:gd name="T37" fmla="*/ 31 h 36"/>
                <a:gd name="T38" fmla="*/ 14 w 36"/>
                <a:gd name="T39" fmla="*/ 36 h 36"/>
                <a:gd name="T40" fmla="*/ 22 w 36"/>
                <a:gd name="T41" fmla="*/ 36 h 36"/>
                <a:gd name="T42" fmla="*/ 22 w 36"/>
                <a:gd name="T43" fmla="*/ 31 h 36"/>
                <a:gd name="T44" fmla="*/ 28 w 36"/>
                <a:gd name="T45" fmla="*/ 28 h 36"/>
                <a:gd name="T46" fmla="*/ 32 w 36"/>
                <a:gd name="T47" fmla="*/ 30 h 36"/>
                <a:gd name="T48" fmla="*/ 36 w 36"/>
                <a:gd name="T49" fmla="*/ 24 h 36"/>
                <a:gd name="T50" fmla="*/ 32 w 36"/>
                <a:gd name="T51" fmla="*/ 21 h 36"/>
                <a:gd name="T52" fmla="*/ 32 w 36"/>
                <a:gd name="T53" fmla="*/ 18 h 36"/>
              </a:gdLst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6" h="36">
                  <a:moveTo>
                    <a:pt x="32" y="18"/>
                  </a:moveTo>
                  <a:cubicBezTo>
                    <a:pt x="32" y="17"/>
                    <a:pt x="32" y="16"/>
                    <a:pt x="32" y="15"/>
                  </a:cubicBezTo>
                  <a:quadBezTo>
                    <a:pt x="36" y="12"/>
                    <a:pt x="36" y="12"/>
                  </a:quadBezTo>
                  <a:quadBezTo>
                    <a:pt x="32" y="6"/>
                    <a:pt x="32" y="6"/>
                  </a:quadBezTo>
                  <a:quadBezTo>
                    <a:pt x="28" y="8"/>
                    <a:pt x="28" y="8"/>
                  </a:quadBezTo>
                  <a:cubicBezTo>
                    <a:pt x="26" y="6"/>
                    <a:pt x="24" y="5"/>
                    <a:pt x="22" y="5"/>
                  </a:cubicBezTo>
                  <a:quadBezTo>
                    <a:pt x="22" y="0"/>
                    <a:pt x="22" y="0"/>
                  </a:quadBezTo>
                  <a:quadBezTo>
                    <a:pt x="14" y="0"/>
                    <a:pt x="14" y="0"/>
                  </a:quadBezTo>
                  <a:quadBezTo>
                    <a:pt x="14" y="5"/>
                    <a:pt x="14" y="5"/>
                  </a:quadBezTo>
                  <a:cubicBezTo>
                    <a:pt x="12" y="5"/>
                    <a:pt x="10" y="6"/>
                    <a:pt x="9" y="8"/>
                  </a:cubicBezTo>
                  <a:quadBezTo>
                    <a:pt x="5" y="6"/>
                    <a:pt x="5" y="6"/>
                  </a:quadBezTo>
                  <a:quadBezTo>
                    <a:pt x="0" y="12"/>
                    <a:pt x="0" y="12"/>
                  </a:quadBezTo>
                  <a:quadBezTo>
                    <a:pt x="4" y="15"/>
                    <a:pt x="4" y="15"/>
                  </a:quadBezTo>
                  <a:cubicBezTo>
                    <a:pt x="4" y="16"/>
                    <a:pt x="4" y="17"/>
                    <a:pt x="4" y="18"/>
                  </a:cubicBezTo>
                  <a:cubicBezTo>
                    <a:pt x="4" y="19"/>
                    <a:pt x="4" y="20"/>
                    <a:pt x="4" y="21"/>
                  </a:cubicBezTo>
                  <a:quadBezTo>
                    <a:pt x="0" y="24"/>
                    <a:pt x="0" y="24"/>
                  </a:quadBezTo>
                  <a:quadBezTo>
                    <a:pt x="4" y="30"/>
                    <a:pt x="4" y="30"/>
                  </a:quadBezTo>
                  <a:quadBezTo>
                    <a:pt x="9" y="28"/>
                    <a:pt x="9" y="28"/>
                  </a:quadBezTo>
                  <a:cubicBezTo>
                    <a:pt x="10" y="30"/>
                    <a:pt x="12" y="31"/>
                    <a:pt x="14" y="31"/>
                  </a:cubicBezTo>
                  <a:quadBezTo>
                    <a:pt x="14" y="36"/>
                    <a:pt x="14" y="36"/>
                  </a:quadBezTo>
                  <a:quadBezTo>
                    <a:pt x="22" y="36"/>
                    <a:pt x="22" y="36"/>
                  </a:quadBezTo>
                  <a:quadBezTo>
                    <a:pt x="22" y="31"/>
                    <a:pt x="22" y="31"/>
                  </a:quadBezTo>
                  <a:cubicBezTo>
                    <a:pt x="24" y="31"/>
                    <a:pt x="26" y="30"/>
                    <a:pt x="28" y="28"/>
                  </a:cubicBezTo>
                  <a:quadBezTo>
                    <a:pt x="32" y="30"/>
                    <a:pt x="32" y="30"/>
                  </a:quadBezTo>
                  <a:quadBezTo>
                    <a:pt x="36" y="24"/>
                    <a:pt x="36" y="24"/>
                  </a:quadBezTo>
                  <a:quadBezTo>
                    <a:pt x="32" y="21"/>
                    <a:pt x="32" y="21"/>
                  </a:quadBezTo>
                  <a:cubicBezTo>
                    <a:pt x="32" y="20"/>
                    <a:pt x="32" y="19"/>
                    <a:pt x="32" y="18"/>
                  </a:cubicBezTo>
                  <a:close/>
                </a:path>
              </a:pathLst>
            </a:custGeom>
            <a:noFill/>
            <a:ln w="15875" cap="flat">
              <a:solidFill>
                <a:srgbClr val="015a6b"/>
              </a:solidFill>
              <a:prstDash val="solid"/>
              <a:round/>
            </a:ln>
          </p:spPr>
          <p:txBody>
            <a:bodyPr vert="horz" wrap="square" lIns="91440" tIns="45720" rIns="91440" bIns="45720" anchor="t" anchorCtr="0">
              <a:prstTxWarp prst="textNoShape">
                <a:avLst/>
              </a:prstTxWarp>
            </a:bodyPr>
            <a:lstStyle/>
            <a:p>
              <a:pPr lvl="0">
                <a:defRPr/>
              </a:pPr>
              <a:endParaRPr lang="id-ID"/>
            </a:p>
          </p:txBody>
        </p:sp>
      </p:grpSp>
      <p:sp>
        <p:nvSpPr>
          <p:cNvPr id="64" name="Rectangle 43"/>
          <p:cNvSpPr/>
          <p:nvPr/>
        </p:nvSpPr>
        <p:spPr>
          <a:xfrm>
            <a:off x="8157720" y="2667000"/>
            <a:ext cx="1827982" cy="43815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lvl="0">
              <a:defRPr/>
            </a:pPr>
            <a:r>
              <a:rPr lang="en-US" altLang="ko-KR" sz="1600">
                <a:latin typeface="맑은 고딕 Semilight"/>
                <a:ea typeface="맑은 고딕 Semilight"/>
                <a:cs typeface="맑은 고딕 Semilight"/>
              </a:rPr>
              <a:t>-</a:t>
            </a:r>
            <a:r>
              <a:rPr lang="ko-KR" altLang="en-US" sz="1600">
                <a:latin typeface="맑은 고딕 Semilight"/>
                <a:ea typeface="맑은 고딕 Semilight"/>
                <a:cs typeface="맑은 고딕 Semilight"/>
              </a:rPr>
              <a:t> 요구사항</a:t>
            </a:r>
            <a:endParaRPr lang="ko-KR" altLang="en-US" sz="1300">
              <a:latin typeface="맑은 고딕 Semilight"/>
              <a:ea typeface="맑은 고딕 Semilight"/>
              <a:cs typeface="맑은 고딕 Semilight"/>
            </a:endParaRPr>
          </a:p>
          <a:p>
            <a:pPr lvl="0">
              <a:defRPr/>
            </a:pPr>
            <a:r>
              <a:rPr lang="en-US" altLang="ko-KR" sz="1300">
                <a:latin typeface="맑은 고딕 Semilight"/>
                <a:ea typeface="맑은 고딕 Semilight"/>
                <a:cs typeface="맑은 고딕 Semilight"/>
              </a:rPr>
              <a:t>jdk</a:t>
            </a:r>
            <a:r>
              <a:rPr lang="ko-KR" altLang="en-US" sz="1300">
                <a:latin typeface="맑은 고딕 Semilight"/>
                <a:ea typeface="맑은 고딕 Semilight"/>
                <a:cs typeface="맑은 고딕 Semilight"/>
              </a:rPr>
              <a:t> </a:t>
            </a:r>
            <a:r>
              <a:rPr lang="en-US" altLang="ko-KR" sz="1300">
                <a:latin typeface="맑은 고딕 Semilight"/>
                <a:ea typeface="맑은 고딕 Semilight"/>
                <a:cs typeface="맑은 고딕 Semilight"/>
              </a:rPr>
              <a:t>1.8</a:t>
            </a:r>
            <a:r>
              <a:rPr lang="ko-KR" altLang="en-US" sz="1300">
                <a:latin typeface="맑은 고딕 Semilight"/>
                <a:ea typeface="맑은 고딕 Semilight"/>
                <a:cs typeface="맑은 고딕 Semilight"/>
              </a:rPr>
              <a:t>버전</a:t>
            </a:r>
            <a:r>
              <a:rPr lang="en-US" altLang="ko-KR" sz="1300">
                <a:latin typeface="맑은 고딕 Semilight"/>
                <a:ea typeface="맑은 고딕 Semilight"/>
                <a:cs typeface="맑은 고딕 Semilight"/>
              </a:rPr>
              <a:t> </a:t>
            </a:r>
            <a:r>
              <a:rPr lang="ko-KR" altLang="en-US" sz="1300">
                <a:latin typeface="맑은 고딕 Semilight"/>
                <a:ea typeface="맑은 고딕 Semilight"/>
                <a:cs typeface="맑은 고딕 Semilight"/>
              </a:rPr>
              <a:t>및 </a:t>
            </a:r>
            <a:r>
              <a:rPr lang="en-US" altLang="ko-KR" sz="1300">
                <a:latin typeface="맑은 고딕 Semilight"/>
                <a:ea typeface="맑은 고딕 Semilight"/>
                <a:cs typeface="맑은 고딕 Semilight"/>
              </a:rPr>
              <a:t>swing</a:t>
            </a:r>
            <a:endParaRPr lang="en-US" altLang="ko-KR" sz="1300">
              <a:latin typeface="맑은 고딕 Semilight"/>
              <a:ea typeface="맑은 고딕 Semilight"/>
              <a:cs typeface="맑은 고딕 Semilight"/>
            </a:endParaRPr>
          </a:p>
        </p:txBody>
      </p:sp>
      <p:sp>
        <p:nvSpPr>
          <p:cNvPr id="65" name="Rectangle 43"/>
          <p:cNvSpPr/>
          <p:nvPr/>
        </p:nvSpPr>
        <p:spPr>
          <a:xfrm>
            <a:off x="8167245" y="3400425"/>
            <a:ext cx="1827982" cy="43815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lvl="0">
              <a:defRPr/>
            </a:pPr>
            <a:r>
              <a:rPr lang="en-US" altLang="ko-KR" sz="1600">
                <a:latin typeface="맑은 고딕 Semilight"/>
                <a:ea typeface="맑은 고딕 Semilight"/>
                <a:cs typeface="맑은 고딕 Semilight"/>
              </a:rPr>
              <a:t>-</a:t>
            </a:r>
            <a:r>
              <a:rPr lang="ko-KR" altLang="en-US" sz="1600">
                <a:latin typeface="맑은 고딕 Semilight"/>
                <a:ea typeface="맑은 고딕 Semilight"/>
                <a:cs typeface="맑은 고딕 Semilight"/>
              </a:rPr>
              <a:t> 파일</a:t>
            </a:r>
            <a:r>
              <a:rPr lang="en-US" altLang="ko-KR" sz="1600">
                <a:latin typeface="맑은 고딕 Semilight"/>
                <a:ea typeface="맑은 고딕 Semilight"/>
                <a:cs typeface="맑은 고딕 Semilight"/>
              </a:rPr>
              <a:t> I/O</a:t>
            </a:r>
            <a:endParaRPr lang="en-US" altLang="ko-KR" sz="1600">
              <a:latin typeface="맑은 고딕 Semilight"/>
              <a:ea typeface="맑은 고딕 Semilight"/>
              <a:cs typeface="맑은 고딕 Semilight"/>
            </a:endParaRPr>
          </a:p>
          <a:p>
            <a:pPr lvl="0">
              <a:defRPr/>
            </a:pPr>
            <a:r>
              <a:rPr lang="ko-KR" altLang="en-US" sz="1300">
                <a:latin typeface="맑은 고딕 Semilight"/>
                <a:ea typeface="맑은 고딕 Semilight"/>
                <a:cs typeface="맑은 고딕 Semilight"/>
              </a:rPr>
              <a:t>직렬화</a:t>
            </a:r>
            <a:r>
              <a:rPr lang="en-US" altLang="ko-KR" sz="1300">
                <a:latin typeface="맑은 고딕 Semilight"/>
                <a:ea typeface="맑은 고딕 Semilight"/>
                <a:cs typeface="맑은 고딕 Semilight"/>
              </a:rPr>
              <a:t>,</a:t>
            </a:r>
            <a:r>
              <a:rPr lang="ko-KR" altLang="en-US" sz="1300">
                <a:latin typeface="맑은 고딕 Semilight"/>
                <a:ea typeface="맑은 고딕 Semilight"/>
                <a:cs typeface="맑은 고딕 Semilight"/>
              </a:rPr>
              <a:t> </a:t>
            </a:r>
            <a:r>
              <a:rPr lang="en-US" altLang="ko-KR" sz="1300">
                <a:latin typeface="맑은 고딕 Semilight"/>
                <a:ea typeface="맑은 고딕 Semilight"/>
                <a:cs typeface="맑은 고딕 Semilight"/>
              </a:rPr>
              <a:t>Buffer I/O</a:t>
            </a:r>
            <a:endParaRPr lang="en-US" altLang="ko-KR" sz="1300">
              <a:latin typeface="맑은 고딕 Semilight"/>
              <a:ea typeface="맑은 고딕 Semilight"/>
              <a:cs typeface="맑은 고딕 Semilight"/>
            </a:endParaRPr>
          </a:p>
        </p:txBody>
      </p:sp>
      <p:sp>
        <p:nvSpPr>
          <p:cNvPr id="66" name="Rectangle 43"/>
          <p:cNvSpPr/>
          <p:nvPr/>
        </p:nvSpPr>
        <p:spPr>
          <a:xfrm>
            <a:off x="8141154" y="4152900"/>
            <a:ext cx="1827982" cy="43815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lvl="0">
              <a:defRPr/>
            </a:pPr>
            <a:r>
              <a:rPr lang="en-US" altLang="ko-KR" sz="1600">
                <a:latin typeface="맑은 고딕 Semilight"/>
                <a:ea typeface="맑은 고딕 Semilight"/>
                <a:cs typeface="맑은 고딕 Semilight"/>
              </a:rPr>
              <a:t>-</a:t>
            </a:r>
            <a:r>
              <a:rPr lang="ko-KR" altLang="en-US" sz="1600">
                <a:latin typeface="맑은 고딕 Semilight"/>
                <a:ea typeface="맑은 고딕 Semilight"/>
                <a:cs typeface="맑은 고딕 Semilight"/>
              </a:rPr>
              <a:t> 압축</a:t>
            </a:r>
            <a:endParaRPr lang="ko-KR" altLang="en-US" sz="1300">
              <a:latin typeface="맑은 고딕 Semilight"/>
              <a:ea typeface="맑은 고딕 Semilight"/>
              <a:cs typeface="맑은 고딕 Semilight"/>
            </a:endParaRPr>
          </a:p>
          <a:p>
            <a:pPr lvl="0">
              <a:defRPr/>
            </a:pPr>
            <a:r>
              <a:rPr lang="ko-KR" altLang="en-US" sz="1300">
                <a:latin typeface="맑은 고딕 Semilight"/>
                <a:ea typeface="맑은 고딕 Semilight"/>
                <a:cs typeface="맑은 고딕 Semilight"/>
              </a:rPr>
              <a:t>허프만 알고리즘</a:t>
            </a:r>
            <a:endParaRPr lang="ko-KR" altLang="en-US" sz="1300">
              <a:latin typeface="맑은 고딕 Semilight"/>
              <a:ea typeface="맑은 고딕 Semilight"/>
              <a:cs typeface="맑은 고딕 Semilight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</p:sld>
</file>

<file path=ppt/slides/slide5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9" descr="Diagram  Description automatically generated with medium confidence"/>
          <p:cNvPicPr>
            <a:picLocks noChangeAspect="1"/>
          </p:cNvPicPr>
          <p:nvPr/>
        </p:nvPicPr>
        <p:blipFill rotWithShape="1">
          <a:blip r:embed="rId2"/>
          <a:srcRect t="43630" b="23080"/>
          <a:stretch>
            <a:fillRect/>
          </a:stretch>
        </p:blipFill>
        <p:spPr>
          <a:xfrm>
            <a:off x="0" y="0"/>
            <a:ext cx="12191999" cy="2706206"/>
          </a:xfrm>
          <a:prstGeom prst="rect">
            <a:avLst/>
          </a:prstGeom>
        </p:spPr>
      </p:pic>
      <p:sp>
        <p:nvSpPr>
          <p:cNvPr id="7" name="Rectangle 18"/>
          <p:cNvSpPr/>
          <p:nvPr/>
        </p:nvSpPr>
        <p:spPr>
          <a:xfrm>
            <a:off x="0" y="0"/>
            <a:ext cx="12191999" cy="2706206"/>
          </a:xfrm>
          <a:prstGeom prst="rect">
            <a:avLst/>
          </a:prstGeom>
          <a:solidFill>
            <a:srgbClr val="016c81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4" name=""/>
          <p:cNvPicPr/>
          <p:nvPr/>
        </p:nvPicPr>
        <p:blipFill rotWithShape="1">
          <a:blip r:embed="rId3">
            <a:lum/>
          </a:blip>
          <a:srcRect/>
          <a:stretch>
            <a:fillRect/>
          </a:stretch>
        </p:blipFill>
        <p:spPr>
          <a:xfrm>
            <a:off x="1164021" y="1323276"/>
            <a:ext cx="5284216" cy="4211446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title" idx="0"/>
          </p:nvPr>
        </p:nvSpPr>
        <p:spPr>
          <a:xfrm>
            <a:off x="619125" y="365126"/>
            <a:ext cx="10953750" cy="745218"/>
          </a:xfrm>
        </p:spPr>
        <p:txBody>
          <a:bodyPr vert="horz" lIns="0" tIns="45720" rIns="0" bIns="45720" anchor="ctr">
            <a:normAutofit/>
          </a:bodyPr>
          <a:lstStyle/>
          <a:p>
            <a:pPr lvl="0">
              <a:defRPr/>
            </a:pPr>
            <a:r>
              <a:rPr lang="ko-KR" altLang="en-US" sz="2777"/>
              <a:t>제작 요약</a:t>
            </a:r>
            <a:br>
              <a:rPr lang="ko-KR" altLang="en-US" sz="2777"/>
            </a:br>
            <a:r>
              <a:rPr lang="en-US" altLang="ko-KR" sz="1500"/>
              <a:t>-</a:t>
            </a:r>
            <a:r>
              <a:rPr lang="ko-KR" altLang="en-US" sz="1500"/>
              <a:t> 절차 및 결과</a:t>
            </a:r>
            <a:endParaRPr lang="ko-KR" altLang="en-US" sz="1500"/>
          </a:p>
        </p:txBody>
      </p:sp>
      <p:pic>
        <p:nvPicPr>
          <p:cNvPr id="6" name=""/>
          <p:cNvPicPr/>
          <p:nvPr/>
        </p:nvPicPr>
        <p:blipFill rotWithShape="1">
          <a:blip r:embed="rId4">
            <a:lum/>
          </a:blip>
          <a:srcRect/>
          <a:stretch>
            <a:fillRect/>
          </a:stretch>
        </p:blipFill>
        <p:spPr>
          <a:xfrm>
            <a:off x="7647811" y="2519045"/>
            <a:ext cx="2407920" cy="181991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</p:sld>
</file>

<file path=ppt/slides/slide6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idx="0"/>
          </p:nvPr>
        </p:nvSpPr>
        <p:spPr>
          <a:xfrm>
            <a:off x="619125" y="365126"/>
            <a:ext cx="10953750" cy="745218"/>
          </a:xfrm>
        </p:spPr>
        <p:txBody>
          <a:bodyPr vert="horz" lIns="0" tIns="45720" rIns="0" bIns="45720" anchor="ctr">
            <a:normAutofit/>
          </a:bodyPr>
          <a:lstStyle/>
          <a:p>
            <a:pPr lvl="0">
              <a:defRPr/>
            </a:pPr>
            <a:r>
              <a:rPr lang="ko-KR" altLang="en-US" sz="2777"/>
              <a:t>제작 내용</a:t>
            </a:r>
            <a:br>
              <a:rPr lang="ko-KR" altLang="en-US" sz="2777"/>
            </a:br>
            <a:r>
              <a:rPr lang="en-US" altLang="ko-KR" sz="1500"/>
              <a:t>-</a:t>
            </a:r>
            <a:r>
              <a:rPr lang="ko-KR" altLang="en-US" sz="1500"/>
              <a:t> 제작을 수행한 제작자</a:t>
            </a:r>
            <a:endParaRPr lang="ko-KR" altLang="en-US" sz="1500"/>
          </a:p>
        </p:txBody>
      </p:sp>
      <p:graphicFrame>
        <p:nvGraphicFramePr>
          <p:cNvPr id="8" name=""/>
          <p:cNvGraphicFramePr>
            <a:graphicFrameLocks noGrp="1"/>
          </p:cNvGraphicFramePr>
          <p:nvPr/>
        </p:nvGraphicFramePr>
        <p:xfrm>
          <a:off x="2098434" y="2241936"/>
          <a:ext cx="7995130" cy="2374127"/>
        </p:xfrm>
        <a:graphic>
          <a:graphicData uri="http://schemas.openxmlformats.org/drawingml/2006/table">
            <a:tbl>
              <a:tblPr firstRow="1" bandRow="1"/>
              <a:tblGrid>
                <a:gridCol w="1048945"/>
                <a:gridCol w="6946185"/>
              </a:tblGrid>
              <a:tr h="395687"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2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이름</a:t>
                      </a:r>
                      <a:endParaRPr xmlns:mc="http://schemas.openxmlformats.org/markup-compatibility/2006" xmlns:hp="http://schemas.haansoft.com/office/presentation/8.0" lang="ko-KR" altLang="en-US" sz="12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  <a:solidFill>
                      <a:srgbClr val="015a6b">
                        <a:alpha val="100000"/>
                      </a:srgbClr>
                    </a:solidFill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2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담당 역할</a:t>
                      </a:r>
                      <a:endParaRPr xmlns:mc="http://schemas.openxmlformats.org/markup-compatibility/2006" xmlns:hp="http://schemas.haansoft.com/office/presentation/8.0" lang="ko-KR" altLang="en-US" sz="12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  <a:solidFill>
                      <a:srgbClr val="015a6b">
                        <a:alpha val="100000"/>
                      </a:srgbClr>
                    </a:solidFill>
                  </a:tcPr>
                </a:tc>
              </a:tr>
              <a:tr h="395687"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2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조준명</a:t>
                      </a:r>
                      <a:endParaRPr xmlns:mc="http://schemas.openxmlformats.org/markup-compatibility/2006" xmlns:hp="http://schemas.haansoft.com/office/presentation/8.0" lang="ko-KR" altLang="en-US" sz="12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indent="127000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2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팀장</a:t>
                      </a:r>
                      <a:r>
                        <a:rPr xmlns:mc="http://schemas.openxmlformats.org/markup-compatibility/2006" xmlns:hp="http://schemas.haansoft.com/office/presentation/8.0" lang="EN-US" altLang="en-US" sz="12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, 일정 총괄, 코딩</a:t>
                      </a:r>
                      <a:endParaRPr xmlns:mc="http://schemas.openxmlformats.org/markup-compatibility/2006" xmlns:hp="http://schemas.haansoft.com/office/presentation/8.0" lang="EN-US" altLang="en-US" sz="12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</a:tr>
              <a:tr h="395687"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2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가민석</a:t>
                      </a:r>
                      <a:endParaRPr xmlns:mc="http://schemas.openxmlformats.org/markup-compatibility/2006" xmlns:hp="http://schemas.haansoft.com/office/presentation/8.0" lang="ko-KR" altLang="en-US" sz="12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indent="127000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2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부팀장</a:t>
                      </a:r>
                      <a:r>
                        <a:rPr xmlns:mc="http://schemas.openxmlformats.org/markup-compatibility/2006" xmlns:hp="http://schemas.haansoft.com/office/presentation/8.0" lang="EN-US" altLang="en-US" sz="12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, 회의록 작성, 코딩</a:t>
                      </a:r>
                      <a:endParaRPr xmlns:mc="http://schemas.openxmlformats.org/markup-compatibility/2006" xmlns:hp="http://schemas.haansoft.com/office/presentation/8.0" lang="EN-US" altLang="en-US" sz="12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</a:tr>
              <a:tr h="395687"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2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김민준</a:t>
                      </a:r>
                      <a:endParaRPr xmlns:mc="http://schemas.openxmlformats.org/markup-compatibility/2006" xmlns:hp="http://schemas.haansoft.com/office/presentation/8.0" lang="ko-KR" altLang="en-US" sz="12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indent="127000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2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핵심 로직 구현 총괄</a:t>
                      </a:r>
                      <a:r>
                        <a:rPr xmlns:mc="http://schemas.openxmlformats.org/markup-compatibility/2006" xmlns:hp="http://schemas.haansoft.com/office/presentation/8.0" lang="EN-US" altLang="en-US" sz="12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, 코딩</a:t>
                      </a:r>
                      <a:endParaRPr xmlns:mc="http://schemas.openxmlformats.org/markup-compatibility/2006" xmlns:hp="http://schemas.haansoft.com/office/presentation/8.0" lang="EN-US" altLang="en-US" sz="12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</a:tr>
              <a:tr h="395687"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2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양다진</a:t>
                      </a:r>
                      <a:endParaRPr xmlns:mc="http://schemas.openxmlformats.org/markup-compatibility/2006" xmlns:hp="http://schemas.haansoft.com/office/presentation/8.0" lang="ko-KR" altLang="en-US" sz="12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indent="127000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2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문서 작성</a:t>
                      </a:r>
                      <a:r>
                        <a:rPr xmlns:mc="http://schemas.openxmlformats.org/markup-compatibility/2006" xmlns:hp="http://schemas.haansoft.com/office/presentation/8.0" lang="EN-US" altLang="en-US" sz="12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, 코딩</a:t>
                      </a:r>
                      <a:endParaRPr xmlns:mc="http://schemas.openxmlformats.org/markup-compatibility/2006" xmlns:hp="http://schemas.haansoft.com/office/presentation/8.0" lang="EN-US" altLang="en-US" sz="12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</a:tr>
              <a:tr h="395687"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2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이상남</a:t>
                      </a:r>
                      <a:endParaRPr xmlns:mc="http://schemas.openxmlformats.org/markup-compatibility/2006" xmlns:hp="http://schemas.haansoft.com/office/presentation/8.0" lang="ko-KR" altLang="en-US" sz="12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indent="127000">
                        <a:defRPr/>
                      </a:pPr>
                      <a:r>
                        <a:rPr xmlns:mc="http://schemas.openxmlformats.org/markup-compatibility/2006" xmlns:hp="http://schemas.haansoft.com/office/presentation/8.0" lang="EN-US" altLang="en-US" sz="12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GUI구현 총괄, 코딩</a:t>
                      </a:r>
                      <a:endParaRPr xmlns:mc="http://schemas.openxmlformats.org/markup-compatibility/2006" xmlns:hp="http://schemas.haansoft.com/office/presentation/8.0" lang="EN-US" altLang="en-US" sz="12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</p:sld>
</file>

<file path=ppt/slides/slide7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idx="0"/>
          </p:nvPr>
        </p:nvSpPr>
        <p:spPr>
          <a:xfrm>
            <a:off x="619125" y="365126"/>
            <a:ext cx="10953750" cy="745218"/>
          </a:xfrm>
        </p:spPr>
        <p:txBody>
          <a:bodyPr vert="horz" lIns="0" tIns="45720" rIns="0" bIns="45720" anchor="ctr">
            <a:normAutofit/>
          </a:bodyPr>
          <a:lstStyle/>
          <a:p>
            <a:pPr lvl="0">
              <a:defRPr/>
            </a:pPr>
            <a:r>
              <a:rPr lang="ko-KR" altLang="en-US" sz="2777"/>
              <a:t>제작 내용</a:t>
            </a:r>
            <a:br>
              <a:rPr lang="ko-KR" altLang="en-US" sz="2777"/>
            </a:br>
            <a:r>
              <a:rPr lang="en-US" altLang="ko-KR" sz="1500"/>
              <a:t>-</a:t>
            </a:r>
            <a:r>
              <a:rPr lang="ko-KR" altLang="en-US" sz="1500"/>
              <a:t> 제작 기준</a:t>
            </a:r>
            <a:endParaRPr lang="ko-KR" altLang="en-US" sz="1500"/>
          </a:p>
        </p:txBody>
      </p:sp>
      <p:graphicFrame>
        <p:nvGraphicFramePr>
          <p:cNvPr id="5" name=""/>
          <p:cNvGraphicFramePr>
            <a:graphicFrameLocks noGrp="1"/>
          </p:cNvGraphicFramePr>
          <p:nvPr/>
        </p:nvGraphicFramePr>
        <p:xfrm>
          <a:off x="3061017" y="431927"/>
          <a:ext cx="6069965" cy="5994146"/>
        </p:xfrm>
        <a:graphic>
          <a:graphicData uri="http://schemas.openxmlformats.org/drawingml/2006/table">
            <a:tbl>
              <a:tblPr firstRow="1" bandRow="1"/>
              <a:tblGrid>
                <a:gridCol w="763524"/>
                <a:gridCol w="785114"/>
                <a:gridCol w="1115949"/>
                <a:gridCol w="824738"/>
                <a:gridCol w="860806"/>
                <a:gridCol w="1719834"/>
              </a:tblGrid>
              <a:tr h="522478"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대분류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  <a:solidFill>
                      <a:srgbClr val="015a6b">
                        <a:alpha val="100000"/>
                      </a:srgbClr>
                    </a:solidFill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기능</a:t>
                      </a:r>
                      <a:r>
                        <a:rPr xmlns:mc="http://schemas.openxmlformats.org/markup-compatibility/2006" xmlns:hp="http://schemas.haansoft.com/office/presentation/8.0" lang="EN-US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/부품</a:t>
                      </a:r>
                      <a:endParaRPr xmlns:mc="http://schemas.openxmlformats.org/markup-compatibility/2006" xmlns:hp="http://schemas.haansoft.com/office/presentation/8.0" lang="EN-US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  <a:solidFill>
                      <a:srgbClr val="015a6b">
                        <a:alpha val="100000"/>
                      </a:srgbClr>
                    </a:solidFill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계획사항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EN-US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(설계/구현/향후)</a:t>
                      </a:r>
                      <a:endParaRPr xmlns:mc="http://schemas.openxmlformats.org/markup-compatibility/2006" xmlns:hp="http://schemas.haansoft.com/office/presentation/8.0" lang="EN-US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  <a:solidFill>
                      <a:srgbClr val="015a6b">
                        <a:alpha val="100000"/>
                      </a:srgbClr>
                    </a:solidFill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설계난이도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EN-US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(상/중/하)</a:t>
                      </a:r>
                      <a:endParaRPr xmlns:mc="http://schemas.openxmlformats.org/markup-compatibility/2006" xmlns:hp="http://schemas.haansoft.com/office/presentation/8.0" lang="EN-US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  <a:solidFill>
                      <a:srgbClr val="015a6b">
                        <a:alpha val="100000"/>
                      </a:srgbClr>
                    </a:solidFill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구현난이도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EN-US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(상/중/하)</a:t>
                      </a:r>
                      <a:endParaRPr xmlns:mc="http://schemas.openxmlformats.org/markup-compatibility/2006" xmlns:hp="http://schemas.haansoft.com/office/presentation/8.0" lang="EN-US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  <a:solidFill>
                      <a:srgbClr val="015a6b">
                        <a:alpha val="100000"/>
                      </a:srgbClr>
                    </a:solidFill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설명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  <a:solidFill>
                      <a:srgbClr val="015a6b">
                        <a:alpha val="100000"/>
                      </a:srgbClr>
                    </a:solidFill>
                  </a:tcPr>
                </a:tc>
              </a:tr>
              <a:tr h="311531"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파일 처리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파일 열기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설계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하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하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압축될 파일을 불러온다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</a:tr>
              <a:tr h="311531"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>
                        <a:defRPr/>
                      </a:pPr>
                      <a:endParaRPr lang="ko-KR" altLang="en-US"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파일 닫기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설계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하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하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불러온 파일을 닫는다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</a:tr>
              <a:tr h="311531"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>
                        <a:defRPr/>
                      </a:pPr>
                      <a:endParaRPr lang="ko-KR" altLang="en-US"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파일 삭제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설계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하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하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불러온 파일을 삭제한다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</a:tr>
              <a:tr h="455549"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>
                        <a:defRPr/>
                      </a:pPr>
                      <a:endParaRPr lang="ko-KR" altLang="en-US"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새 창 띄우기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설계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하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하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새로운 프로그램 창을 띄운다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</a:tr>
              <a:tr h="322326"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>
                        <a:defRPr/>
                      </a:pPr>
                      <a:endParaRPr lang="ko-KR" altLang="en-US"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프로그램 종료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설계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하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하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프로그램을 종료시킨다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</a:tr>
              <a:tr h="322326"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>
                        <a:defRPr/>
                      </a:pPr>
                      <a:endParaRPr lang="ko-KR" altLang="en-US"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파일 압축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설계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상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상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불러온 파일을 압축시킨다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</a:tr>
              <a:tr h="555371"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>
                        <a:defRPr/>
                      </a:pPr>
                      <a:endParaRPr lang="ko-KR" altLang="en-US"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압축 해제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설계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상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상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불러온 파일이 압축파일이라면 압축을 해제시킨다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</a:tr>
              <a:tr h="412750"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>
                        <a:defRPr/>
                      </a:pPr>
                      <a:endParaRPr lang="ko-KR" altLang="en-US"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파일 조회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설계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하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하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불러온 파일정보를 조회한다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</a:tr>
              <a:tr h="412750"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추가기능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인코딩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향후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상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중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파일 정보를 인코딩 옵션을 사용하여 불러온다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</a:tr>
              <a:tr h="520319"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>
                        <a:defRPr/>
                      </a:pPr>
                      <a:endParaRPr lang="ko-KR" altLang="en-US"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암호화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향후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중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중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압축에 암호를 적용해 해제시킬 때 암호를 풀 수 있도록 한다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</a:tr>
              <a:tr h="453390"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>
                        <a:defRPr/>
                      </a:pPr>
                      <a:endParaRPr lang="ko-KR" altLang="en-US"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암호해제 서비스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향후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중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중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암호가 걸려있는 파일의 암호 해제 서비스를 제공한다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</a:tr>
              <a:tr h="543814"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>
                        <a:defRPr/>
                      </a:pPr>
                      <a:endParaRPr lang="ko-KR" altLang="en-US"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자동번역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설계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중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상</a:t>
                      </a:r>
                      <a:endParaRPr xmlns:mc="http://schemas.openxmlformats.org/markup-compatibility/2006" xmlns:hp="http://schemas.haansoft.com/office/presentation/8.0" lang="ko-KR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구글</a:t>
                      </a:r>
                      <a:r>
                        <a:rPr xmlns:mc="http://schemas.openxmlformats.org/markup-compatibility/2006" xmlns:hp="http://schemas.haansoft.com/office/presentation/8.0" lang="EN-US" altLang="en-US" sz="10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, 파파고 자동번역 등을 사용해 국제적으로 소프트웨어를 사용할 수 있게 한다</a:t>
                      </a:r>
                      <a:endParaRPr xmlns:mc="http://schemas.openxmlformats.org/markup-compatibility/2006" xmlns:hp="http://schemas.haansoft.com/office/presentation/8.0" lang="EN-US" altLang="en-US" sz="10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</p:sld>
</file>

<file path=ppt/slides/slide8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idx="0"/>
          </p:nvPr>
        </p:nvSpPr>
        <p:spPr>
          <a:xfrm>
            <a:off x="619125" y="365126"/>
            <a:ext cx="10953750" cy="745218"/>
          </a:xfrm>
        </p:spPr>
        <p:txBody>
          <a:bodyPr vert="horz" lIns="0" tIns="45720" rIns="0" bIns="45720" anchor="ctr">
            <a:normAutofit/>
          </a:bodyPr>
          <a:lstStyle/>
          <a:p>
            <a:pPr lvl="0">
              <a:defRPr/>
            </a:pPr>
            <a:r>
              <a:rPr lang="ko-KR" altLang="en-US" sz="2777"/>
              <a:t>제작 내용</a:t>
            </a:r>
            <a:br>
              <a:rPr lang="ko-KR" altLang="en-US" sz="2777"/>
            </a:br>
            <a:r>
              <a:rPr lang="en-US" altLang="ko-KR" sz="1500"/>
              <a:t>-</a:t>
            </a:r>
            <a:r>
              <a:rPr lang="ko-KR" altLang="en-US" sz="1500"/>
              <a:t> 수학적 모데링</a:t>
            </a:r>
            <a:r>
              <a:rPr lang="en-US" altLang="ko-KR" sz="1500"/>
              <a:t>,</a:t>
            </a:r>
            <a:r>
              <a:rPr lang="ko-KR" altLang="en-US" sz="1500"/>
              <a:t> </a:t>
            </a:r>
            <a:r>
              <a:rPr lang="ko-KR" altLang="en-US" sz="1500">
                <a:solidFill>
                  <a:srgbClr val="015a6b"/>
                </a:solidFill>
              </a:rPr>
              <a:t>허프만 알고리즘</a:t>
            </a:r>
            <a:endParaRPr lang="ko-KR" altLang="en-US" sz="1500">
              <a:solidFill>
                <a:srgbClr val="015a6b"/>
              </a:solidFill>
            </a:endParaRPr>
          </a:p>
        </p:txBody>
      </p:sp>
      <p:graphicFrame>
        <p:nvGraphicFramePr>
          <p:cNvPr id="9" name=""/>
          <p:cNvGraphicFramePr>
            <a:graphicFrameLocks noGrp="1"/>
          </p:cNvGraphicFramePr>
          <p:nvPr/>
        </p:nvGraphicFramePr>
        <p:xfrm>
          <a:off x="441677" y="1640713"/>
          <a:ext cx="5735486" cy="4372732"/>
        </p:xfrm>
        <a:graphic>
          <a:graphicData uri="http://schemas.openxmlformats.org/drawingml/2006/table">
            <a:tbl>
              <a:tblPr firstRow="1" bandRow="1"/>
              <a:tblGrid>
                <a:gridCol w="788713"/>
                <a:gridCol w="4946772"/>
              </a:tblGrid>
              <a:tr h="2355780"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EN-US" altLang="en-US" sz="12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Line</a:t>
                      </a:r>
                      <a:endParaRPr xmlns:mc="http://schemas.openxmlformats.org/markup-compatibility/2006" xmlns:hp="http://schemas.haansoft.com/office/presentation/8.0" lang="EN-US" altLang="en-US" sz="12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  <a:solidFill>
                      <a:srgbClr val="015a6b">
                        <a:alpha val="100000"/>
                      </a:srgbClr>
                    </a:solidFill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>
                        <a:defRPr/>
                      </a:pPr>
                      <a:r>
                        <a:rPr xmlns:mc="http://schemas.openxmlformats.org/markup-compatibility/2006" xmlns:hp="http://schemas.haansoft.com/office/presentation/8.0" lang="EN-US" altLang="en-US" sz="12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1. 각 문자 당 노드를 만들고, 그 문자의 빈도수를 노드에 저장</a:t>
                      </a:r>
                      <a:endParaRPr xmlns:mc="http://schemas.openxmlformats.org/markup-compatibility/2006" xmlns:hp="http://schemas.haansoft.com/office/presentation/8.0" lang="EN-US" altLang="en-US" sz="12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  <a:p>
                      <a:pPr>
                        <a:defRPr/>
                      </a:pPr>
                      <a:r>
                        <a:rPr xmlns:mc="http://schemas.openxmlformats.org/markup-compatibility/2006" xmlns:hp="http://schemas.haansoft.com/office/presentation/8.0" lang="EN-US" altLang="en-US" sz="12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2. n개의 노드의 빈 도수에 대해 우선순위 Q를만든다.</a:t>
                      </a:r>
                      <a:endParaRPr xmlns:mc="http://schemas.openxmlformats.org/markup-compatibility/2006" xmlns:hp="http://schemas.haansoft.com/office/presentation/8.0" lang="EN-US" altLang="en-US" sz="12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  <a:p>
                      <a:pPr>
                        <a:defRPr/>
                      </a:pPr>
                      <a:r>
                        <a:rPr xmlns:mc="http://schemas.openxmlformats.org/markup-compatibility/2006" xmlns:hp="http://schemas.haansoft.com/office/presentation/8.0" lang="EN-US" altLang="en-US" sz="12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3. </a:t>
                      </a:r>
                      <a:r>
                        <a:rPr xmlns:mc="http://schemas.openxmlformats.org/markup-compatibility/2006" xmlns:hp="http://schemas.haansoft.com/office/presentation/8.0" lang="EN-US" altLang="en-US" sz="1200" b="0" i="0" u="none" strike="noStrike" mc:Ignorable="hp" hp:hslEmbossed="0">
                          <a:solidFill>
                            <a:srgbClr val="0000ff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while</a:t>
                      </a:r>
                      <a:r>
                        <a:rPr xmlns:mc="http://schemas.openxmlformats.org/markup-compatibility/2006" xmlns:hp="http://schemas.haansoft.com/office/presentation/8.0" lang="EN-US" altLang="en-US" sz="12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(Q에있는 노드 수 &gt;= 2)</a:t>
                      </a:r>
                      <a:endParaRPr xmlns:mc="http://schemas.openxmlformats.org/markup-compatibility/2006" xmlns:hp="http://schemas.haansoft.com/office/presentation/8.0" lang="EN-US" altLang="en-US" sz="12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  <a:p>
                      <a:pPr>
                        <a:defRPr/>
                      </a:pPr>
                      <a:r>
                        <a:rPr xmlns:mc="http://schemas.openxmlformats.org/markup-compatibility/2006" xmlns:hp="http://schemas.haansoft.com/office/presentation/8.0" lang="EN-US" altLang="en-US" sz="12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{</a:t>
                      </a:r>
                      <a:endParaRPr xmlns:mc="http://schemas.openxmlformats.org/markup-compatibility/2006" xmlns:hp="http://schemas.haansoft.com/office/presentation/8.0" lang="EN-US" altLang="en-US" sz="12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  <a:p>
                      <a:pPr>
                        <a:defRPr/>
                      </a:pPr>
                      <a:r>
                        <a:rPr xmlns:mc="http://schemas.openxmlformats.org/markup-compatibility/2006" xmlns:hp="http://schemas.haansoft.com/office/presentation/8.0" lang="EN-US" altLang="en-US" sz="12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4. 빈도수가 가장 작은 2개의 노드 (A와 B)를 Q에서 제거</a:t>
                      </a:r>
                      <a:endParaRPr xmlns:mc="http://schemas.openxmlformats.org/markup-compatibility/2006" xmlns:hp="http://schemas.haansoft.com/office/presentation/8.0" lang="EN-US" altLang="en-US" sz="12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  <a:p>
                      <a:pPr>
                        <a:defRPr/>
                      </a:pPr>
                      <a:r>
                        <a:rPr xmlns:mc="http://schemas.openxmlformats.org/markup-compatibility/2006" xmlns:hp="http://schemas.haansoft.com/office/presentation/8.0" lang="EN-US" altLang="en-US" sz="12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5. 새 노드 N을 만들고, A와 B를 N의 자식 노드로 만든다.</a:t>
                      </a:r>
                      <a:endParaRPr xmlns:mc="http://schemas.openxmlformats.org/markup-compatibility/2006" xmlns:hp="http://schemas.haansoft.com/office/presentation/8.0" lang="EN-US" altLang="en-US" sz="12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  <a:p>
                      <a:pPr>
                        <a:defRPr/>
                      </a:pPr>
                      <a:r>
                        <a:rPr xmlns:mc="http://schemas.openxmlformats.org/markup-compatibility/2006" xmlns:hp="http://schemas.haansoft.com/office/presentation/8.0" lang="EN-US" altLang="en-US" sz="12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6. N의 빈도수 = A의 빈도수 + B의 빈도수</a:t>
                      </a:r>
                      <a:endParaRPr xmlns:mc="http://schemas.openxmlformats.org/markup-compatibility/2006" xmlns:hp="http://schemas.haansoft.com/office/presentation/8.0" lang="EN-US" altLang="en-US" sz="12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  <a:p>
                      <a:pPr>
                        <a:defRPr/>
                      </a:pPr>
                      <a:r>
                        <a:rPr xmlns:mc="http://schemas.openxmlformats.org/markup-compatibility/2006" xmlns:hp="http://schemas.haansoft.com/office/presentation/8.0" lang="EN-US" altLang="en-US" sz="12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7. 노드 N을 Q에 삽입한다.</a:t>
                      </a:r>
                      <a:endParaRPr xmlns:mc="http://schemas.openxmlformats.org/markup-compatibility/2006" xmlns:hp="http://schemas.haansoft.com/office/presentation/8.0" lang="EN-US" altLang="en-US" sz="12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  <a:p>
                      <a:pPr>
                        <a:defRPr/>
                      </a:pPr>
                      <a:r>
                        <a:rPr xmlns:mc="http://schemas.openxmlformats.org/markup-compatibility/2006" xmlns:hp="http://schemas.haansoft.com/office/presentation/8.0" lang="EN-US" altLang="en-US" sz="12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}</a:t>
                      </a:r>
                      <a:endParaRPr xmlns:mc="http://schemas.openxmlformats.org/markup-compatibility/2006" xmlns:hp="http://schemas.haansoft.com/office/presentation/8.0" lang="EN-US" altLang="en-US" sz="12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  <a:p>
                      <a:pPr>
                        <a:defRPr/>
                      </a:pPr>
                      <a:r>
                        <a:rPr xmlns:mc="http://schemas.openxmlformats.org/markup-compatibility/2006" xmlns:hp="http://schemas.haansoft.com/office/presentation/8.0" lang="EN-US" altLang="en-US" sz="12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8. return Q</a:t>
                      </a:r>
                      <a:endParaRPr xmlns:mc="http://schemas.openxmlformats.org/markup-compatibility/2006" xmlns:hp="http://schemas.haansoft.com/office/presentation/8.0" lang="EN-US" altLang="en-US" sz="12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</a:tr>
              <a:tr h="301399"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EN-US" altLang="en-US" sz="12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Line 1</a:t>
                      </a:r>
                      <a:endParaRPr xmlns:mc="http://schemas.openxmlformats.org/markup-compatibility/2006" xmlns:hp="http://schemas.haansoft.com/office/presentation/8.0" lang="EN-US" altLang="en-US" sz="12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  <a:solidFill>
                      <a:srgbClr val="015a6b">
                        <a:alpha val="100000"/>
                      </a:srgbClr>
                    </a:solidFill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>
                        <a:defRPr/>
                      </a:pPr>
                      <a:r>
                        <a:rPr xmlns:mc="http://schemas.openxmlformats.org/markup-compatibility/2006" xmlns:hp="http://schemas.haansoft.com/office/presentation/8.0" lang="EN-US" altLang="en-US" sz="12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n개의 노드를 만들고, 각 빈도수를 노드에 저장하므로 시간이 소모</a:t>
                      </a:r>
                      <a:endParaRPr xmlns:mc="http://schemas.openxmlformats.org/markup-compatibility/2006" xmlns:hp="http://schemas.haansoft.com/office/presentation/8.0" lang="EN-US" altLang="en-US" sz="12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</a:tr>
              <a:tr h="589288"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EN-US" altLang="en-US" sz="12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Line 2</a:t>
                      </a:r>
                      <a:endParaRPr xmlns:mc="http://schemas.openxmlformats.org/markup-compatibility/2006" xmlns:hp="http://schemas.haansoft.com/office/presentation/8.0" lang="EN-US" altLang="en-US" sz="12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  <a:solidFill>
                      <a:srgbClr val="015a6b">
                        <a:alpha val="100000"/>
                      </a:srgbClr>
                    </a:solidFill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>
                        <a:defRPr/>
                      </a:pPr>
                      <a:r>
                        <a:rPr xmlns:mc="http://schemas.openxmlformats.org/markup-compatibility/2006" xmlns:hp="http://schemas.haansoft.com/office/presentation/8.0" lang="EN-US" altLang="en-US" sz="12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n개의 노드로 우선순위 Q를 만든다</a:t>
                      </a:r>
                      <a:endParaRPr xmlns:mc="http://schemas.openxmlformats.org/markup-compatibility/2006" xmlns:hp="http://schemas.haansoft.com/office/presentation/8.0" lang="EN-US" altLang="en-US" sz="12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  <a:p>
                      <a:pPr>
                        <a:defRPr/>
                      </a:pPr>
                      <a:r>
                        <a:rPr xmlns:mc="http://schemas.openxmlformats.org/markup-compatibility/2006" xmlns:hp="http://schemas.haansoft.com/office/presentation/8.0" lang="EN-US" altLang="en-US" sz="12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우선순위 Q로서 heap 자료구조를 사용하면 시간이 걸린다.</a:t>
                      </a:r>
                      <a:endParaRPr xmlns:mc="http://schemas.openxmlformats.org/markup-compatibility/2006" xmlns:hp="http://schemas.haansoft.com/office/presentation/8.0" lang="EN-US" altLang="en-US" sz="12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</a:tr>
              <a:tr h="824865"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EN-US" altLang="en-US" sz="12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Line 3 - 7</a:t>
                      </a:r>
                      <a:endParaRPr xmlns:mc="http://schemas.openxmlformats.org/markup-compatibility/2006" xmlns:hp="http://schemas.haansoft.com/office/presentation/8.0" lang="EN-US" altLang="en-US" sz="12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  <a:solidFill>
                      <a:srgbClr val="015a6b">
                        <a:alpha val="100000"/>
                      </a:srgbClr>
                    </a:solidFill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2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최소 빈도수를 가진 노드 </a:t>
                      </a:r>
                      <a:r>
                        <a:rPr xmlns:mc="http://schemas.openxmlformats.org/markup-compatibility/2006" xmlns:hp="http://schemas.haansoft.com/office/presentation/8.0" lang="EN-US" altLang="en-US" sz="12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2개를 Q에서 제거하는 힙의 삭제 연산과 새 노드를 Q에 삽입하는 연산을 수행함으로 O(longn) 시간이 걸린다.</a:t>
                      </a:r>
                      <a:endParaRPr xmlns:mc="http://schemas.openxmlformats.org/markup-compatibility/2006" xmlns:hp="http://schemas.haansoft.com/office/presentation/8.0" lang="EN-US" altLang="en-US" sz="12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  <a:p>
                      <a:pPr>
                        <a:defRPr/>
                      </a:pPr>
                      <a:r>
                        <a:rPr xmlns:mc="http://schemas.openxmlformats.org/markup-compatibility/2006" xmlns:hp="http://schemas.haansoft.com/office/presentation/8.0" lang="EN-US" altLang="en-US" sz="12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while-루프(n-1)번 반복되므로</a:t>
                      </a:r>
                      <a:endParaRPr xmlns:mc="http://schemas.openxmlformats.org/markup-compatibility/2006" xmlns:hp="http://schemas.haansoft.com/office/presentation/8.0" lang="EN-US" altLang="en-US" sz="12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  <a:p>
                      <a:pPr>
                        <a:defRPr/>
                      </a:pPr>
                      <a:endParaRPr xmlns:mc="http://schemas.openxmlformats.org/markup-compatibility/2006" xmlns:hp="http://schemas.haansoft.com/office/presentation/8.0" lang="EN-US" altLang="en-US" sz="12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</a:tr>
              <a:tr h="301399"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xmlns:mc="http://schemas.openxmlformats.org/markup-compatibility/2006" xmlns:hp="http://schemas.haansoft.com/office/presentation/8.0" lang="EN-US" altLang="en-US" sz="12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Line 8</a:t>
                      </a:r>
                      <a:endParaRPr xmlns:mc="http://schemas.openxmlformats.org/markup-compatibility/2006" xmlns:hp="http://schemas.haansoft.com/office/presentation/8.0" lang="EN-US" altLang="en-US" sz="12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  <a:solidFill>
                      <a:srgbClr val="015a6b">
                        <a:alpha val="100000"/>
                      </a:srgbClr>
                    </a:solidFill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>
                        <a:defRPr/>
                      </a:pPr>
                      <a:r>
                        <a:rPr xmlns:mc="http://schemas.openxmlformats.org/markup-compatibility/2006" xmlns:hp="http://schemas.haansoft.com/office/presentation/8.0" lang="ko-KR" altLang="en-US" sz="12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트리의 루트를 리턴함으로 </a:t>
                      </a:r>
                      <a:r>
                        <a:rPr xmlns:mc="http://schemas.openxmlformats.org/markup-compatibility/2006" xmlns:hp="http://schemas.haansoft.com/office/presentation/8.0" lang="EN-US" altLang="en-US" sz="1200" b="0" i="0" u="none" strike="noStrike" mc:Ignorable="hp" hp:hslEmbossed="0">
                          <a:solidFill>
                            <a:srgbClr val="000000"/>
                          </a:solidFill>
                          <a:latin typeface="맑은 고딕 Semilight"/>
                          <a:ea typeface="맑은 고딕 Semilight"/>
                          <a:cs typeface="맑은 고딕 Semilight"/>
                        </a:rPr>
                        <a:t>시간 소모</a:t>
                      </a:r>
                      <a:endParaRPr xmlns:mc="http://schemas.openxmlformats.org/markup-compatibility/2006" xmlns:hp="http://schemas.haansoft.com/office/presentation/8.0" lang="EN-US" altLang="en-US" sz="1200" b="0" i="0" u="none" strike="noStrike" mc:Ignorable="hp" hp:hslEmbossed="0">
                        <a:solidFill>
                          <a:srgbClr val="000000"/>
                        </a:solidFill>
                        <a:latin typeface="맑은 고딕 Semilight"/>
                        <a:ea typeface="맑은 고딕 Semilight"/>
                        <a:cs typeface="맑은 고딕 Semilight"/>
                      </a:endParaRPr>
                    </a:p>
                  </a:txBody>
                  <a:tcPr marL="91440" marR="91440" anchor="ctr">
                    <a:lnL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L>
                    <a:lnR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R>
                    <a:lnT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T>
                    <a:lnB w="4191">
                      <a:solidFill>
                        <a:srgbClr val="000000">
                          <a:alpha val="100000"/>
                        </a:srgbClr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  <p:pic>
        <p:nvPicPr>
          <p:cNvPr id="12" name=""/>
          <p:cNvPicPr>
            <a:picLocks noChangeAspect="1"/>
          </p:cNvPicPr>
          <p:nvPr/>
        </p:nvPicPr>
        <p:blipFill rotWithShape="1">
          <a:blip r:embed="rId2"/>
          <a:stretch>
            <a:fillRect/>
          </a:stretch>
        </p:blipFill>
        <p:spPr>
          <a:xfrm>
            <a:off x="6527362" y="2498448"/>
            <a:ext cx="5323444" cy="435455"/>
          </a:xfrm>
          <a:prstGeom prst="rect">
            <a:avLst/>
          </a:prstGeom>
        </p:spPr>
      </p:pic>
      <p:pic>
        <p:nvPicPr>
          <p:cNvPr id="14" name=""/>
          <p:cNvPicPr>
            <a:picLocks noChangeAspect="1"/>
          </p:cNvPicPr>
          <p:nvPr/>
        </p:nvPicPr>
        <p:blipFill rotWithShape="1">
          <a:blip r:embed="rId3"/>
          <a:stretch>
            <a:fillRect/>
          </a:stretch>
        </p:blipFill>
        <p:spPr>
          <a:xfrm>
            <a:off x="8620409" y="3547754"/>
            <a:ext cx="1267490" cy="466203"/>
          </a:xfrm>
          <a:prstGeom prst="rect">
            <a:avLst/>
          </a:prstGeom>
        </p:spPr>
      </p:pic>
      <p:sp>
        <p:nvSpPr>
          <p:cNvPr id="15" name=""/>
          <p:cNvSpPr/>
          <p:nvPr/>
        </p:nvSpPr>
        <p:spPr>
          <a:xfrm>
            <a:off x="8587427" y="3567610"/>
            <a:ext cx="1364777" cy="390951"/>
          </a:xfrm>
          <a:prstGeom prst="rect">
            <a:avLst/>
          </a:prstGeom>
          <a:solidFill>
            <a:srgbClr val="ffff0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2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p>
            <a:pPr algn="ctr">
              <a:defRPr/>
            </a:pPr>
            <a:endParaRPr lang="ko-KR" altLang="en-US"/>
          </a:p>
        </p:txBody>
      </p:sp>
      <p:grpSp>
        <p:nvGrpSpPr>
          <p:cNvPr id="17" name="Group 109"/>
          <p:cNvGrpSpPr/>
          <p:nvPr/>
        </p:nvGrpSpPr>
        <p:grpSpPr>
          <a:xfrm rot="0">
            <a:off x="7945126" y="3527977"/>
            <a:ext cx="474662" cy="474662"/>
            <a:chOff x="1742661" y="2224089"/>
            <a:chExt cx="339722" cy="339722"/>
          </a:xfrm>
          <a:effectLst/>
        </p:grpSpPr>
        <p:sp>
          <p:nvSpPr>
            <p:cNvPr id="18" name="Freeform: Shape 108"/>
            <p:cNvSpPr/>
            <p:nvPr/>
          </p:nvSpPr>
          <p:spPr>
            <a:xfrm>
              <a:off x="1742661" y="2224089"/>
              <a:ext cx="339722" cy="339722"/>
            </a:xfrm>
            <a:custGeom>
              <a:avLst/>
              <a:gdLst>
                <a:gd name="connsiteX0" fmla="*/ 219075 w 219074"/>
                <a:gd name="connsiteY0" fmla="*/ 109538 h 219075"/>
                <a:gd name="connsiteX1" fmla="*/ 109538 w 219074"/>
                <a:gd name="connsiteY1" fmla="*/ 219075 h 219075"/>
                <a:gd name="connsiteX2" fmla="*/ 0 w 219074"/>
                <a:gd name="connsiteY2" fmla="*/ 109538 h 219075"/>
                <a:gd name="connsiteX3" fmla="*/ 109538 w 219074"/>
                <a:gd name="connsiteY3" fmla="*/ 0 h 219075"/>
                <a:gd name="connsiteX4" fmla="*/ 219075 w 219074"/>
                <a:gd name="connsiteY4" fmla="*/ 109538 h 219075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9074" h="219075">
                  <a:moveTo>
                    <a:pt x="219075" y="109538"/>
                  </a:moveTo>
                  <a:cubicBezTo>
                    <a:pt x="219075" y="170033"/>
                    <a:pt x="170033" y="219075"/>
                    <a:pt x="109538" y="219075"/>
                  </a:cubicBezTo>
                  <a:cubicBezTo>
                    <a:pt x="49042" y="219075"/>
                    <a:pt x="0" y="170033"/>
                    <a:pt x="0" y="109538"/>
                  </a:cubicBezTo>
                  <a:cubicBezTo>
                    <a:pt x="0" y="49042"/>
                    <a:pt x="49042" y="0"/>
                    <a:pt x="109538" y="0"/>
                  </a:cubicBezTo>
                  <a:cubicBezTo>
                    <a:pt x="170033" y="0"/>
                    <a:pt x="219075" y="49042"/>
                    <a:pt x="219075" y="109538"/>
                  </a:cubicBezTo>
                  <a:close/>
                </a:path>
              </a:pathLst>
            </a:custGeom>
            <a:solidFill>
              <a:srgbClr val="015a6b"/>
            </a:solidFill>
            <a:ln w="9525" cap="flat">
              <a:noFill/>
              <a:prstDash val="solid"/>
              <a:miter/>
            </a:ln>
            <a:effectLst/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  <p:sp>
          <p:nvSpPr>
            <p:cNvPr id="19" name="Freeform: Shape 107"/>
            <p:cNvSpPr/>
            <p:nvPr/>
          </p:nvSpPr>
          <p:spPr>
            <a:xfrm>
              <a:off x="1847166" y="2336899"/>
              <a:ext cx="117366" cy="113936"/>
            </a:xfrm>
            <a:custGeom>
              <a:avLst/>
              <a:gdLst>
                <a:gd name="connsiteX0" fmla="*/ 95 w 134457"/>
                <a:gd name="connsiteY0" fmla="*/ 60556 h 130529"/>
                <a:gd name="connsiteX1" fmla="*/ 9620 w 134457"/>
                <a:gd name="connsiteY1" fmla="*/ 51031 h 130529"/>
                <a:gd name="connsiteX2" fmla="*/ 81344 w 134457"/>
                <a:gd name="connsiteY2" fmla="*/ 51031 h 130529"/>
                <a:gd name="connsiteX3" fmla="*/ 84392 w 134457"/>
                <a:gd name="connsiteY3" fmla="*/ 43982 h 130529"/>
                <a:gd name="connsiteX4" fmla="*/ 61817 w 134457"/>
                <a:gd name="connsiteY4" fmla="*/ 19312 h 130529"/>
                <a:gd name="connsiteX5" fmla="*/ 62103 w 134457"/>
                <a:gd name="connsiteY5" fmla="*/ 5596 h 130529"/>
                <a:gd name="connsiteX6" fmla="*/ 64960 w 134457"/>
                <a:gd name="connsiteY6" fmla="*/ 2739 h 130529"/>
                <a:gd name="connsiteX7" fmla="*/ 78296 w 134457"/>
                <a:gd name="connsiteY7" fmla="*/ 2834 h 130529"/>
                <a:gd name="connsiteX8" fmla="*/ 131731 w 134457"/>
                <a:gd name="connsiteY8" fmla="*/ 58365 h 130529"/>
                <a:gd name="connsiteX9" fmla="*/ 131826 w 134457"/>
                <a:gd name="connsiteY9" fmla="*/ 72176 h 130529"/>
                <a:gd name="connsiteX10" fmla="*/ 79248 w 134457"/>
                <a:gd name="connsiteY10" fmla="*/ 127612 h 130529"/>
                <a:gd name="connsiteX11" fmla="*/ 65913 w 134457"/>
                <a:gd name="connsiteY11" fmla="*/ 127802 h 130529"/>
                <a:gd name="connsiteX12" fmla="*/ 63055 w 134457"/>
                <a:gd name="connsiteY12" fmla="*/ 124945 h 130529"/>
                <a:gd name="connsiteX13" fmla="*/ 62675 w 134457"/>
                <a:gd name="connsiteY13" fmla="*/ 111133 h 130529"/>
                <a:gd name="connsiteX14" fmla="*/ 84582 w 134457"/>
                <a:gd name="connsiteY14" fmla="*/ 86654 h 130529"/>
                <a:gd name="connsiteX15" fmla="*/ 81439 w 134457"/>
                <a:gd name="connsiteY15" fmla="*/ 79510 h 130529"/>
                <a:gd name="connsiteX16" fmla="*/ 9525 w 134457"/>
                <a:gd name="connsiteY16" fmla="*/ 79510 h 130529"/>
                <a:gd name="connsiteX17" fmla="*/ 0 w 134457"/>
                <a:gd name="connsiteY17" fmla="*/ 69985 h 130529"/>
                <a:gd name="connsiteX18" fmla="*/ 0 w 134457"/>
                <a:gd name="connsiteY18" fmla="*/ 60556 h 130529"/>
              </a:gdLst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34457" h="130529">
                  <a:moveTo>
                    <a:pt x="95" y="60556"/>
                  </a:moveTo>
                  <a:cubicBezTo>
                    <a:pt x="95" y="55317"/>
                    <a:pt x="4381" y="51031"/>
                    <a:pt x="9620" y="51031"/>
                  </a:cubicBezTo>
                  <a:lnTo>
                    <a:pt x="81344" y="51031"/>
                  </a:lnTo>
                  <a:cubicBezTo>
                    <a:pt x="86582" y="51031"/>
                    <a:pt x="88011" y="47887"/>
                    <a:pt x="84392" y="43982"/>
                  </a:cubicBezTo>
                  <a:lnTo>
                    <a:pt x="61817" y="19312"/>
                  </a:lnTo>
                  <a:cubicBezTo>
                    <a:pt x="58293" y="15407"/>
                    <a:pt x="58388" y="9216"/>
                    <a:pt x="62103" y="5596"/>
                  </a:cubicBezTo>
                  <a:lnTo>
                    <a:pt x="64960" y="2739"/>
                  </a:lnTo>
                  <a:cubicBezTo>
                    <a:pt x="68675" y="-976"/>
                    <a:pt x="74676" y="-881"/>
                    <a:pt x="78296" y="2834"/>
                  </a:cubicBezTo>
                  <a:lnTo>
                    <a:pt x="131731" y="58365"/>
                  </a:lnTo>
                  <a:cubicBezTo>
                    <a:pt x="135350" y="62175"/>
                    <a:pt x="135350" y="68366"/>
                    <a:pt x="131826" y="72176"/>
                  </a:cubicBezTo>
                  <a:lnTo>
                    <a:pt x="79248" y="127612"/>
                  </a:lnTo>
                  <a:cubicBezTo>
                    <a:pt x="75628" y="131422"/>
                    <a:pt x="69628" y="131517"/>
                    <a:pt x="65913" y="127802"/>
                  </a:cubicBezTo>
                  <a:lnTo>
                    <a:pt x="63055" y="124945"/>
                  </a:lnTo>
                  <a:cubicBezTo>
                    <a:pt x="59341" y="121230"/>
                    <a:pt x="59150" y="115039"/>
                    <a:pt x="62675" y="111133"/>
                  </a:cubicBezTo>
                  <a:lnTo>
                    <a:pt x="84582" y="86654"/>
                  </a:lnTo>
                  <a:cubicBezTo>
                    <a:pt x="88106" y="82749"/>
                    <a:pt x="86677" y="79510"/>
                    <a:pt x="81439" y="79510"/>
                  </a:cubicBezTo>
                  <a:lnTo>
                    <a:pt x="9525" y="79510"/>
                  </a:lnTo>
                  <a:cubicBezTo>
                    <a:pt x="4286" y="79510"/>
                    <a:pt x="0" y="75224"/>
                    <a:pt x="0" y="69985"/>
                  </a:cubicBezTo>
                  <a:lnTo>
                    <a:pt x="0" y="60556"/>
                  </a:lnTo>
                  <a:close/>
                </a:path>
              </a:pathLst>
            </a:custGeom>
            <a:solidFill>
              <a:schemeClr val="bg1"/>
            </a:solidFill>
            <a:ln w="9525" cap="sq">
              <a:noFill/>
              <a:prstDash val="solid"/>
              <a:round/>
            </a:ln>
          </p:spPr>
          <p:txBody>
            <a:bodyPr anchor="ctr"/>
            <a:lstStyle/>
            <a:p>
              <a:pPr lvl="0">
                <a:defRPr/>
              </a:pPr>
              <a:endParaRPr lang="en-ID"/>
            </a:p>
          </p:txBody>
        </p: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</p:sld>
</file>

<file path=ppt/slides/slide9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9" descr="Diagram  Description automatically generated with medium confidence"/>
          <p:cNvPicPr>
            <a:picLocks noChangeAspect="1"/>
          </p:cNvPicPr>
          <p:nvPr/>
        </p:nvPicPr>
        <p:blipFill rotWithShape="1">
          <a:blip r:embed="rId2"/>
          <a:srcRect t="43630" b="23080"/>
          <a:stretch>
            <a:fillRect/>
          </a:stretch>
        </p:blipFill>
        <p:spPr>
          <a:xfrm>
            <a:off x="1" y="0"/>
            <a:ext cx="12191999" cy="2706206"/>
          </a:xfrm>
          <a:prstGeom prst="rect">
            <a:avLst/>
          </a:prstGeom>
        </p:spPr>
      </p:pic>
      <p:sp>
        <p:nvSpPr>
          <p:cNvPr id="6" name="Rectangle 18"/>
          <p:cNvSpPr/>
          <p:nvPr/>
        </p:nvSpPr>
        <p:spPr>
          <a:xfrm>
            <a:off x="0" y="0"/>
            <a:ext cx="12191999" cy="2706206"/>
          </a:xfrm>
          <a:prstGeom prst="rect">
            <a:avLst/>
          </a:prstGeom>
          <a:solidFill>
            <a:srgbClr val="016c81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4" name="Title 1"/>
          <p:cNvSpPr>
            <a:spLocks noGrp="1"/>
          </p:cNvSpPr>
          <p:nvPr>
            <p:ph type="title" idx="0"/>
          </p:nvPr>
        </p:nvSpPr>
        <p:spPr>
          <a:xfrm>
            <a:off x="619125" y="365126"/>
            <a:ext cx="10953750" cy="745218"/>
          </a:xfrm>
        </p:spPr>
        <p:txBody>
          <a:bodyPr vert="horz" lIns="0" tIns="45720" rIns="0" bIns="45720" anchor="ctr">
            <a:normAutofit/>
          </a:bodyPr>
          <a:lstStyle/>
          <a:p>
            <a:pPr lvl="0">
              <a:defRPr/>
            </a:pPr>
            <a:r>
              <a:rPr lang="ko-KR" altLang="en-US" sz="2777"/>
              <a:t>제작 내용</a:t>
            </a:r>
            <a:br>
              <a:rPr lang="ko-KR" altLang="en-US" sz="2777"/>
            </a:br>
            <a:r>
              <a:rPr lang="en-US" altLang="ko-KR" sz="1500"/>
              <a:t>-</a:t>
            </a:r>
            <a:r>
              <a:rPr lang="ko-KR" altLang="en-US" sz="1500"/>
              <a:t> 방법 및 결과</a:t>
            </a:r>
            <a:endParaRPr lang="ko-KR" altLang="en-US" sz="1500"/>
          </a:p>
        </p:txBody>
      </p:sp>
      <p:pic>
        <p:nvPicPr>
          <p:cNvPr id="5" name=""/>
          <p:cNvPicPr/>
          <p:nvPr/>
        </p:nvPicPr>
        <p:blipFill rotWithShape="1">
          <a:blip r:embed="rId3">
            <a:lum/>
          </a:blip>
          <a:srcRect/>
          <a:stretch>
            <a:fillRect/>
          </a:stretch>
        </p:blipFill>
        <p:spPr>
          <a:xfrm>
            <a:off x="3616744" y="893237"/>
            <a:ext cx="4958513" cy="5071526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r="http://schemas.openxmlformats.org/officeDocument/2006/relationships" xmlns:c="http://schemas.openxmlformats.org/drawingml/2006/chart" xmlns:dgm="http://schemas.openxmlformats.org/drawingml/2006/diagram" xmlns:dsp="http://schemas.microsoft.com/office/drawing/2008/diagram" xmlns:a="http://schemas.openxmlformats.org/drawingml/2006/main" xmlns:pic="http://schemas.openxmlformats.org/drawingml/2006/picture" xmlns:wp="http://schemas.openxmlformats.org/drawingml/2006/wordprocessingDrawing" xmlns:xdr="http://schemas.openxmlformats.org/drawingml/2006/spreadsheetDrawing" xmlns:p="http://schemas.openxmlformats.org/presentation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20"/>
        <a:ea typeface=""/>
        <a:cs typeface=""/>
        <a:font script="Jpan" typeface="Yu Gothic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20"/>
        <a:ea typeface=""/>
        <a:cs typeface=""/>
        <a:font script="Jpan" typeface="Yu Gothic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/>
        </a:ln>
        <a:ln w="12700" cap="flat" cmpd="sng" algn="ctr">
          <a:solidFill>
            <a:schemeClr val="phClr"/>
          </a:solidFill>
          <a:prstDash val="solid"/>
          <a:miter/>
        </a:ln>
        <a:ln w="1905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</a:theme>
</file>

<file path=ppt/theme/theme2.xml><?xml version="1.0" encoding="utf-8"?>
<a:theme xmlns:r="http://schemas.openxmlformats.org/officeDocument/2006/relationships" xmlns:c="http://schemas.openxmlformats.org/drawingml/2006/chart" xmlns:dgm="http://schemas.openxmlformats.org/drawingml/2006/diagram" xmlns:dsp="http://schemas.microsoft.com/office/drawing/2008/diagram" xmlns:a="http://schemas.openxmlformats.org/drawingml/2006/main" xmlns:pic="http://schemas.openxmlformats.org/drawingml/2006/picture" xmlns:wp="http://schemas.openxmlformats.org/drawingml/2006/wordprocessingDrawing" xmlns:xdr="http://schemas.openxmlformats.org/drawingml/2006/spreadsheetDrawing" xmlns:p="http://schemas.openxmlformats.org/presentation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20"/>
        <a:ea typeface=""/>
        <a:cs typeface=""/>
        <a:font script="Jpan" typeface="Yu Gothic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20"/>
        <a:ea typeface=""/>
        <a:cs typeface=""/>
        <a:font script="Jpan" typeface="Yu Gothic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/>
        </a:ln>
        <a:ln w="12700" cap="flat" cmpd="sng" algn="ctr">
          <a:solidFill>
            <a:schemeClr val="phClr"/>
          </a:solidFill>
          <a:prstDash val="solid"/>
          <a:miter/>
        </a:ln>
        <a:ln w="1905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</a:theme>
</file>

<file path=docProps/app.xml><?xml version="1.0" encoding="utf-8"?>
<ep:Properties xmlns:r="http://schemas.openxmlformats.org/officeDocument/2006/relationships" xmlns:ep="http://schemas.openxmlformats.org/officeDocument/2006/extended-properties" xmlns:vt="http://schemas.openxmlformats.org/officeDocument/2006/docPropsVTypes">
  <ep:Manager/>
  <ep:Company/>
  <ep:Words>1146</ep:Words>
  <ep:PresentationFormat>와이드스크린</ep:PresentationFormat>
  <ep:Paragraphs>242</ep:Paragraphs>
  <ep:Slides>21</ep:Slides>
  <ep:Notes>8</ep:Notes>
  <ep:TotalTime>0</ep:TotalTime>
  <ep:HiddenSlides>0</ep:HiddenSlides>
  <ep:MMClips>0</ep:MMClips>
  <ep:HeadingPairs>
    <vt:vector size="4" baseType="variant">
      <vt:variant>
        <vt:lpstr>테마</vt:lpstr>
      </vt:variant>
      <vt:variant>
        <vt:i4>1</vt:i4>
      </vt:variant>
      <vt:variant>
        <vt:lpstr>슬라이드 제목</vt:lpstr>
      </vt:variant>
      <vt:variant>
        <vt:i4>21</vt:i4>
      </vt:variant>
    </vt:vector>
  </ep:HeadingPairs>
  <ep:TitlesOfParts>
    <vt:vector size="22" baseType="lpstr">
      <vt:lpstr>Office Theme</vt:lpstr>
      <vt:lpstr>제작보고서 발표</vt:lpstr>
      <vt:lpstr>CONTENT</vt:lpstr>
      <vt:lpstr>제작 요약 - 제작의 목적</vt:lpstr>
      <vt:lpstr>제작 요약 - 절차 및 결과</vt:lpstr>
      <vt:lpstr>제작 요약 - 절차 및 결과</vt:lpstr>
      <vt:lpstr>제작 내용 - 제작을 수행한 제작자</vt:lpstr>
      <vt:lpstr>제작 내용 - 제작 기준</vt:lpstr>
      <vt:lpstr>제작 내용 - 수학적 모데링, 허프만 알고리즘</vt:lpstr>
      <vt:lpstr>제작 내용 - 방법 및 결과</vt:lpstr>
      <vt:lpstr>제작 내용 - 방법 및 결과</vt:lpstr>
      <vt:lpstr>제작 내용 - 방법 및 결과</vt:lpstr>
      <vt:lpstr>제작 내용 - 방법 및 결과</vt:lpstr>
      <vt:lpstr>제작 내용 - 방법 및 결과</vt:lpstr>
      <vt:lpstr>제작에 따른 결론 - 제작 결과에 대한 분석</vt:lpstr>
      <vt:lpstr>제작에 따른 결론 - 제작 결과에 대한 분석</vt:lpstr>
      <vt:lpstr>제작에 따른 결론 - 제작 결과에 대한 분석</vt:lpstr>
      <vt:lpstr>변경에 따른 구현 계획 - 사전 방식 알고리즘 도입</vt:lpstr>
      <vt:lpstr>변경에 따른 구현 계획 - 사전 방식 알고리즘 도입</vt:lpstr>
      <vt:lpstr>변경에 따른 구현 계획 - 메모리 사용량 최적화</vt:lpstr>
      <vt:lpstr>Q &amp; A</vt:lpstr>
      <vt:lpstr>감사합니다</vt:lpstr>
    </vt:vector>
  </ep:TitlesOfParts>
  <ep:HyperlinkBase/>
  <ep:Application>Show</ep:Application>
  <ep:AppVersion>12.0000</ep:AppVersion>
</ep:Properties>
</file>

<file path=docProps/core.xml><?xml version="1.0" encoding="utf-8"?>
<cp:coreProperties xmlns:r="http://schemas.openxmlformats.org/officeDocument/2006/relationships" xmlns:cp="http://schemas.openxmlformats.org/package/2006/metadata/core-properties" xmlns:dc="http://purl.org/dc/elements/1.1/" xmlns:dcterms="http://purl.org/dc/terms/" xmlns:dcmitype="http://purl.org/dc/dcmitype/" xmlns:xsi="http://www.w3.org/2001/XMLSchema-instance">
  <dcterms:created xsi:type="dcterms:W3CDTF">2021-06-23T05:09:22.000</dcterms:created>
  <cp:lastModifiedBy>didek</cp:lastModifiedBy>
  <dcterms:modified xsi:type="dcterms:W3CDTF">2021-11-08T08:09:24.107</dcterms:modified>
  <cp:revision>16</cp:revision>
  <cp:version>1000.0000.01</cp:version>
</cp:coreProperties>
</file>